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2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ags/tag22.xml" ContentType="application/vnd.openxmlformats-officedocument.presentationml.tags+xml"/>
  <Override PartName="/ppt/notesSlides/notesSlide11.xml" ContentType="application/vnd.openxmlformats-officedocument.presentationml.notesSlide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</p:sldMasterIdLst>
  <p:notesMasterIdLst>
    <p:notesMasterId r:id="rId18"/>
  </p:notesMasterIdLst>
  <p:sldIdLst>
    <p:sldId id="256" r:id="rId3"/>
    <p:sldId id="266" r:id="rId4"/>
    <p:sldId id="267" r:id="rId5"/>
    <p:sldId id="268" r:id="rId6"/>
    <p:sldId id="269" r:id="rId7"/>
    <p:sldId id="257" r:id="rId8"/>
    <p:sldId id="258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70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E4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74" autoAdjust="0"/>
    <p:restoredTop sz="94660"/>
  </p:normalViewPr>
  <p:slideViewPr>
    <p:cSldViewPr snapToGrid="0" showGuides="1">
      <p:cViewPr varScale="1">
        <p:scale>
          <a:sx n="68" d="100"/>
          <a:sy n="68" d="100"/>
        </p:scale>
        <p:origin x="816" y="60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84E4-4CC2-BEC1-B113AA3E9224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4E4-4CC2-BEC1-B113AA3E9224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E4-4CC2-BEC1-B113AA3E9224}"/>
              </c:ext>
            </c:extLst>
          </c:dPt>
          <c:dPt>
            <c:idx val="3"/>
            <c:bubble3D val="0"/>
            <c:spPr>
              <a:solidFill>
                <a:srgbClr val="C0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84E4-4CC2-BEC1-B113AA3E922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40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E4-4CC2-BEC1-B113AA3E92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orem Ipsu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30-48A5-9188-D53EA5E153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E30-48A5-9188-D53EA5E1535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E30-48A5-9188-D53EA5E153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20087824"/>
        <c:axId val="424006976"/>
      </c:barChart>
      <c:catAx>
        <c:axId val="420087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4006976"/>
        <c:crosses val="autoZero"/>
        <c:auto val="1"/>
        <c:lblAlgn val="ctr"/>
        <c:lblOffset val="100"/>
        <c:noMultiLvlLbl val="0"/>
      </c:catAx>
      <c:valAx>
        <c:axId val="424006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087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862-42CC-962B-360F4DD17527}"/>
              </c:ext>
            </c:extLst>
          </c:dPt>
          <c:dPt>
            <c:idx val="1"/>
            <c:bubble3D val="0"/>
            <c:spPr>
              <a:solidFill>
                <a:srgbClr val="EFE40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862-42CC-962B-360F4DD17527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862-42CC-962B-360F4DD17527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5</c:v>
                </c:pt>
                <c:pt idx="1">
                  <c:v>25</c:v>
                </c:pt>
                <c:pt idx="2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862-42CC-962B-360F4DD175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862-42CC-962B-360F4DD17527}"/>
              </c:ext>
            </c:extLst>
          </c:dPt>
          <c:dPt>
            <c:idx val="1"/>
            <c:bubble3D val="0"/>
            <c:spPr>
              <a:solidFill>
                <a:srgbClr val="EFE40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862-42CC-962B-360F4DD17527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862-42CC-962B-360F4DD17527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</c:v>
                </c:pt>
                <c:pt idx="1">
                  <c:v>80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862-42CC-962B-360F4DD175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862-42CC-962B-360F4DD17527}"/>
              </c:ext>
            </c:extLst>
          </c:dPt>
          <c:dPt>
            <c:idx val="1"/>
            <c:bubble3D val="0"/>
            <c:spPr>
              <a:solidFill>
                <a:srgbClr val="EFE40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862-42CC-962B-360F4DD17527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862-42CC-962B-360F4DD17527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0</c:v>
                </c:pt>
                <c:pt idx="1">
                  <c:v>50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862-42CC-962B-360F4DD175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209-498C-924B-1B28B408BB48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209-498C-924B-1B28B408BB48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209-498C-924B-1B28B408BB48}"/>
              </c:ext>
            </c:extLst>
          </c:dPt>
          <c:cat>
            <c:strRef>
              <c:f>Sheet1!$A$2:$A$4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0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209-498C-924B-1B28B408BB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209-498C-924B-1B28B408BB48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209-498C-924B-1B28B408BB48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209-498C-924B-1B28B408BB48}"/>
              </c:ext>
            </c:extLst>
          </c:dPt>
          <c:cat>
            <c:strRef>
              <c:f>Sheet1!$A$2:$A$4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5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209-498C-924B-1B28B408BB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</c:spPr>
          <c:dPt>
            <c:idx val="0"/>
            <c:bubble3D val="0"/>
            <c:spPr>
              <a:solidFill>
                <a:srgbClr val="EFE40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209-498C-924B-1B28B408BB48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209-498C-924B-1B28B408BB48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209-498C-924B-1B28B408BB48}"/>
              </c:ext>
            </c:extLst>
          </c:dPt>
          <c:cat>
            <c:strRef>
              <c:f>Sheet1!$A$2:$A$4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8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209-498C-924B-1B28B408BB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orem Ipsu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A9-41C8-B554-3C0A5DF3BAF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A9-41C8-B554-3C0A5DF3BAF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DA9-41C8-B554-3C0A5DF3BA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20087824"/>
        <c:axId val="424006976"/>
      </c:barChart>
      <c:catAx>
        <c:axId val="420087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4006976"/>
        <c:crosses val="autoZero"/>
        <c:auto val="1"/>
        <c:lblAlgn val="ctr"/>
        <c:lblOffset val="100"/>
        <c:noMultiLvlLbl val="0"/>
      </c:catAx>
      <c:valAx>
        <c:axId val="424006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087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orem Ipsu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8BC-4740-BCAD-A5C6B9111CE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rgbClr val="EFE40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8BC-4740-BCAD-A5C6B9111CE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8BC-4740-BCAD-A5C6B9111C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18223712"/>
        <c:axId val="12550784"/>
      </c:lineChart>
      <c:catAx>
        <c:axId val="318223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0784"/>
        <c:crosses val="autoZero"/>
        <c:auto val="1"/>
        <c:lblAlgn val="ctr"/>
        <c:lblOffset val="100"/>
        <c:noMultiLvlLbl val="0"/>
      </c:catAx>
      <c:valAx>
        <c:axId val="12550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223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6642549863120858E-2"/>
          <c:y val="0.8785183694078893"/>
          <c:w val="0.97335745013687913"/>
          <c:h val="0.105436640608648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orem Ipsu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</c:v>
                </c:pt>
                <c:pt idx="1">
                  <c:v>3</c:v>
                </c:pt>
                <c:pt idx="2">
                  <c:v>3</c:v>
                </c:pt>
                <c:pt idx="3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8BC-4740-BCAD-A5C6B9111CE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rgbClr val="EFE40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1</c:v>
                </c:pt>
                <c:pt idx="1">
                  <c:v>5</c:v>
                </c:pt>
                <c:pt idx="2">
                  <c:v>4</c:v>
                </c:pt>
                <c:pt idx="3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8BC-4740-BCAD-A5C6B9111CE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6</c:v>
                </c:pt>
                <c:pt idx="1">
                  <c:v>1</c:v>
                </c:pt>
                <c:pt idx="2">
                  <c:v>6</c:v>
                </c:pt>
                <c:pt idx="3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8BC-4740-BCAD-A5C6B9111C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18223712"/>
        <c:axId val="12550784"/>
      </c:lineChart>
      <c:catAx>
        <c:axId val="318223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0784"/>
        <c:crosses val="autoZero"/>
        <c:auto val="1"/>
        <c:lblAlgn val="ctr"/>
        <c:lblOffset val="100"/>
        <c:noMultiLvlLbl val="0"/>
      </c:catAx>
      <c:valAx>
        <c:axId val="12550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223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6642549863120858E-2"/>
          <c:y val="0.8785183694078893"/>
          <c:w val="0.97335745013687913"/>
          <c:h val="0.105436640608648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84E4-4CC2-BEC1-B113AA3E9224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4E4-4CC2-BEC1-B113AA3E9224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E4-4CC2-BEC1-B113AA3E9224}"/>
              </c:ext>
            </c:extLst>
          </c:dPt>
          <c:dPt>
            <c:idx val="3"/>
            <c:bubble3D val="0"/>
            <c:spPr>
              <a:solidFill>
                <a:srgbClr val="C0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84E4-4CC2-BEC1-B113AA3E922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5</c:v>
                </c:pt>
                <c:pt idx="1">
                  <c:v>15</c:v>
                </c:pt>
                <c:pt idx="2">
                  <c:v>5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E4-4CC2-BEC1-B113AA3E92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orem Ipsu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</c:v>
                </c:pt>
                <c:pt idx="1">
                  <c:v>5</c:v>
                </c:pt>
                <c:pt idx="2">
                  <c:v>3</c:v>
                </c:pt>
                <c:pt idx="3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8BC-4740-BCAD-A5C6B9111CE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rgbClr val="EFE40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</c:v>
                </c:pt>
                <c:pt idx="1">
                  <c:v>7</c:v>
                </c:pt>
                <c:pt idx="2">
                  <c:v>2</c:v>
                </c:pt>
                <c:pt idx="3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8BC-4740-BCAD-A5C6B9111CE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7</c:v>
                </c:pt>
                <c:pt idx="3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8BC-4740-BCAD-A5C6B9111C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18223712"/>
        <c:axId val="12550784"/>
      </c:lineChart>
      <c:catAx>
        <c:axId val="318223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0784"/>
        <c:crosses val="autoZero"/>
        <c:auto val="1"/>
        <c:lblAlgn val="ctr"/>
        <c:lblOffset val="100"/>
        <c:noMultiLvlLbl val="0"/>
      </c:catAx>
      <c:valAx>
        <c:axId val="12550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223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6642549863120858E-2"/>
          <c:y val="0.8785183694078893"/>
          <c:w val="0.97335745013687913"/>
          <c:h val="0.105436640608648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63-4308-803C-0E464E3E0A2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B63-4308-803C-0E464E3E0A2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63-4308-803C-0E464E3E0A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20087824"/>
        <c:axId val="424006976"/>
      </c:barChart>
      <c:catAx>
        <c:axId val="420087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4006976"/>
        <c:crosses val="autoZero"/>
        <c:auto val="1"/>
        <c:lblAlgn val="ctr"/>
        <c:lblOffset val="100"/>
        <c:noMultiLvlLbl val="0"/>
      </c:catAx>
      <c:valAx>
        <c:axId val="424006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08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51F-405A-A4DE-79468B0A94C0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51F-405A-A4DE-79468B0A94C0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51F-405A-A4DE-79468B0A94C0}"/>
              </c:ext>
            </c:extLst>
          </c:dPt>
          <c:cat>
            <c:strRef>
              <c:f>Sheet1!$A$2:$A$4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5</c:v>
                </c:pt>
                <c:pt idx="1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51F-405A-A4DE-79468B0A94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16E-4FB5-8095-800227E3F6BF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16E-4FB5-8095-800227E3F6BF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16E-4FB5-8095-800227E3F6BF}"/>
              </c:ext>
            </c:extLst>
          </c:dPt>
          <c:cat>
            <c:strRef>
              <c:f>Sheet1!$A$2:$A$4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</c:v>
                </c:pt>
                <c:pt idx="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16E-4FB5-8095-800227E3F6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</c:spPr>
          <c:dPt>
            <c:idx val="0"/>
            <c:bubble3D val="0"/>
            <c:spPr>
              <a:solidFill>
                <a:srgbClr val="EFE40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AE-43D9-8EF4-36ED9D8D877A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AE-43D9-8EF4-36ED9D8D877A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CAE-43D9-8EF4-36ED9D8D877A}"/>
              </c:ext>
            </c:extLst>
          </c:dPt>
          <c:cat>
            <c:strRef>
              <c:f>Sheet1!$A$2:$A$4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0</c:v>
                </c:pt>
                <c:pt idx="1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CAE-43D9-8EF4-36ED9D8D87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Lorem Ipsu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18-4DB2-B27A-5D6844D9E6F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818-4DB2-B27A-5D6844D9E6F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818-4DB2-B27A-5D6844D9E6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20087824"/>
        <c:axId val="424006976"/>
      </c:barChart>
      <c:catAx>
        <c:axId val="420087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4006976"/>
        <c:crosses val="autoZero"/>
        <c:auto val="1"/>
        <c:lblAlgn val="ctr"/>
        <c:lblOffset val="100"/>
        <c:noMultiLvlLbl val="0"/>
      </c:catAx>
      <c:valAx>
        <c:axId val="424006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087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Lorem Ipsu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6D0-4A91-B46C-A50253F51A3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rgbClr val="EFE40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6D0-4A91-B46C-A50253F51A3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6D0-4A91-B46C-A50253F51A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18223712"/>
        <c:axId val="12550784"/>
      </c:lineChart>
      <c:catAx>
        <c:axId val="318223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0784"/>
        <c:crosses val="autoZero"/>
        <c:auto val="1"/>
        <c:lblAlgn val="ctr"/>
        <c:lblOffset val="100"/>
        <c:noMultiLvlLbl val="0"/>
      </c:catAx>
      <c:valAx>
        <c:axId val="12550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223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6642549863120858E-2"/>
          <c:y val="0.8785183694078893"/>
          <c:w val="0.97335745013687913"/>
          <c:h val="0.105436640608648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89307144103339"/>
          <c:y val="8.5871875295030889E-2"/>
          <c:w val="0.6914800345401021"/>
          <c:h val="0.7207531810886508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786-4535-8EDA-4DD581416E73}"/>
              </c:ext>
            </c:extLst>
          </c:dPt>
          <c:dPt>
            <c:idx val="1"/>
            <c:bubble3D val="0"/>
            <c:spPr>
              <a:solidFill>
                <a:srgbClr val="EFE40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786-4535-8EDA-4DD581416E73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786-4535-8EDA-4DD581416E73}"/>
              </c:ext>
            </c:extLst>
          </c:dPt>
          <c:dPt>
            <c:idx val="3"/>
            <c:bubble3D val="0"/>
            <c:spPr>
              <a:solidFill>
                <a:srgbClr val="C0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786-4535-8EDA-4DD581416E7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5</c:v>
                </c:pt>
                <c:pt idx="1">
                  <c:v>15</c:v>
                </c:pt>
                <c:pt idx="2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786-4535-8EDA-4DD581416E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89307144103339"/>
          <c:y val="8.5871875295030889E-2"/>
          <c:w val="0.6914800345401021"/>
          <c:h val="0.7207531810886508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786-4535-8EDA-4DD581416E73}"/>
              </c:ext>
            </c:extLst>
          </c:dPt>
          <c:dPt>
            <c:idx val="1"/>
            <c:bubble3D val="0"/>
            <c:spPr>
              <a:solidFill>
                <a:srgbClr val="EFE40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786-4535-8EDA-4DD581416E73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786-4535-8EDA-4DD581416E73}"/>
              </c:ext>
            </c:extLst>
          </c:dPt>
          <c:dPt>
            <c:idx val="3"/>
            <c:bubble3D val="0"/>
            <c:spPr>
              <a:solidFill>
                <a:srgbClr val="C0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786-4535-8EDA-4DD581416E7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0</c:v>
                </c:pt>
                <c:pt idx="1">
                  <c:v>50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786-4535-8EDA-4DD581416E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89307144103339"/>
          <c:y val="8.5871875295030889E-2"/>
          <c:w val="0.6914800345401021"/>
          <c:h val="0.7207531810886508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786-4535-8EDA-4DD581416E73}"/>
              </c:ext>
            </c:extLst>
          </c:dPt>
          <c:dPt>
            <c:idx val="1"/>
            <c:bubble3D val="0"/>
            <c:spPr>
              <a:solidFill>
                <a:srgbClr val="EFE40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786-4535-8EDA-4DD581416E73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786-4535-8EDA-4DD581416E73}"/>
              </c:ext>
            </c:extLst>
          </c:dPt>
          <c:dPt>
            <c:idx val="3"/>
            <c:bubble3D val="0"/>
            <c:spPr>
              <a:solidFill>
                <a:srgbClr val="C0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786-4535-8EDA-4DD581416E7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</c:v>
                </c:pt>
                <c:pt idx="1">
                  <c:v>40</c:v>
                </c:pt>
                <c:pt idx="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786-4535-8EDA-4DD581416E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84E4-4CC2-BEC1-B113AA3E9224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4E4-4CC2-BEC1-B113AA3E9224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E4-4CC2-BEC1-B113AA3E9224}"/>
              </c:ext>
            </c:extLst>
          </c:dPt>
          <c:dPt>
            <c:idx val="3"/>
            <c:bubble3D val="0"/>
            <c:spPr>
              <a:solidFill>
                <a:srgbClr val="C0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84E4-4CC2-BEC1-B113AA3E922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5</c:v>
                </c:pt>
                <c:pt idx="1">
                  <c:v>15</c:v>
                </c:pt>
                <c:pt idx="2">
                  <c:v>5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E4-4CC2-BEC1-B113AA3E92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89307144103339"/>
          <c:y val="8.5871875295030889E-2"/>
          <c:w val="0.6914800345401021"/>
          <c:h val="0.7207531810886508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786-4535-8EDA-4DD581416E73}"/>
              </c:ext>
            </c:extLst>
          </c:dPt>
          <c:dPt>
            <c:idx val="1"/>
            <c:bubble3D val="0"/>
            <c:spPr>
              <a:solidFill>
                <a:srgbClr val="EFE40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786-4535-8EDA-4DD581416E73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786-4535-8EDA-4DD581416E73}"/>
              </c:ext>
            </c:extLst>
          </c:dPt>
          <c:dPt>
            <c:idx val="3"/>
            <c:bubble3D val="0"/>
            <c:spPr>
              <a:solidFill>
                <a:srgbClr val="C0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786-4535-8EDA-4DD581416E7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0</c:v>
                </c:pt>
                <c:pt idx="1">
                  <c:v>20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786-4535-8EDA-4DD581416E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89307144103339"/>
          <c:y val="8.5871875295030889E-2"/>
          <c:w val="0.6914800345401021"/>
          <c:h val="0.7207531810886508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786-4535-8EDA-4DD581416E73}"/>
              </c:ext>
            </c:extLst>
          </c:dPt>
          <c:dPt>
            <c:idx val="1"/>
            <c:bubble3D val="0"/>
            <c:spPr>
              <a:solidFill>
                <a:srgbClr val="EFE40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786-4535-8EDA-4DD581416E73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786-4535-8EDA-4DD581416E73}"/>
              </c:ext>
            </c:extLst>
          </c:dPt>
          <c:dPt>
            <c:idx val="3"/>
            <c:bubble3D val="0"/>
            <c:spPr>
              <a:solidFill>
                <a:srgbClr val="C0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786-4535-8EDA-4DD581416E7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786-4535-8EDA-4DD581416E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Lorem Ipsu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098-4F33-9670-4422CBCC13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rgbClr val="EFE40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098-4F33-9670-4422CBCC13D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98-4F33-9670-4422CBCC13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18223712"/>
        <c:axId val="12550784"/>
      </c:lineChart>
      <c:catAx>
        <c:axId val="318223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0784"/>
        <c:crosses val="autoZero"/>
        <c:auto val="1"/>
        <c:lblAlgn val="ctr"/>
        <c:lblOffset val="100"/>
        <c:noMultiLvlLbl val="0"/>
      </c:catAx>
      <c:valAx>
        <c:axId val="12550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223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110255469188905"/>
          <c:y val="0.12101938074363247"/>
          <c:w val="0.45017722623554585"/>
          <c:h val="0.9728878065783336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24C-40B6-AB8F-B8440DEBA21F}"/>
              </c:ext>
            </c:extLst>
          </c:dPt>
          <c:dPt>
            <c:idx val="1"/>
            <c:bubble3D val="0"/>
            <c:spPr>
              <a:solidFill>
                <a:srgbClr val="EFE40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24C-40B6-AB8F-B8440DEBA21F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24C-40B6-AB8F-B8440DEBA21F}"/>
              </c:ext>
            </c:extLst>
          </c:dPt>
          <c:dPt>
            <c:idx val="3"/>
            <c:bubble3D val="0"/>
            <c:spPr>
              <a:solidFill>
                <a:srgbClr val="C0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24C-40B6-AB8F-B8440DEBA21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24C-40B6-AB8F-B8440DEBA2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tx1">
        <a:alpha val="50000"/>
      </a:scheme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rem ipsum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Lorem</c:v>
                </c:pt>
                <c:pt idx="1">
                  <c:v>Lorem</c:v>
                </c:pt>
                <c:pt idx="2">
                  <c:v>Lorem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</c:v>
                </c:pt>
                <c:pt idx="1">
                  <c:v>2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2F-41A1-A950-A54E3769699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orem ipsum2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Lorem</c:v>
                </c:pt>
                <c:pt idx="1">
                  <c:v>Lorem</c:v>
                </c:pt>
                <c:pt idx="2">
                  <c:v>Lorem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02F-41A1-A950-A54E3769699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orem ipsum3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Lorem</c:v>
                </c:pt>
                <c:pt idx="1">
                  <c:v>Lorem</c:v>
                </c:pt>
                <c:pt idx="2">
                  <c:v>Lorem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1</c:v>
                </c:pt>
                <c:pt idx="1">
                  <c:v>3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02F-41A1-A950-A54E376969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18223712"/>
        <c:axId val="12550784"/>
      </c:barChart>
      <c:catAx>
        <c:axId val="318223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0784"/>
        <c:crosses val="autoZero"/>
        <c:auto val="1"/>
        <c:lblAlgn val="ctr"/>
        <c:lblOffset val="100"/>
        <c:noMultiLvlLbl val="0"/>
      </c:catAx>
      <c:valAx>
        <c:axId val="1255078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223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rem ipsum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Lorem</c:v>
                </c:pt>
                <c:pt idx="1">
                  <c:v>Lorem</c:v>
                </c:pt>
                <c:pt idx="2">
                  <c:v>Lorem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</c:v>
                </c:pt>
                <c:pt idx="1">
                  <c:v>2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2F-41A1-A950-A54E3769699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orem ipsum2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Lorem</c:v>
                </c:pt>
                <c:pt idx="1">
                  <c:v>Lorem</c:v>
                </c:pt>
                <c:pt idx="2">
                  <c:v>Lorem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6</c:v>
                </c:pt>
                <c:pt idx="1">
                  <c:v>7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02F-41A1-A950-A54E3769699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orem ipsum3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Lorem</c:v>
                </c:pt>
                <c:pt idx="1">
                  <c:v>Lorem</c:v>
                </c:pt>
                <c:pt idx="2">
                  <c:v>Lorem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3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02F-41A1-A950-A54E376969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18223712"/>
        <c:axId val="12550784"/>
      </c:barChart>
      <c:catAx>
        <c:axId val="318223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0784"/>
        <c:crosses val="autoZero"/>
        <c:auto val="1"/>
        <c:lblAlgn val="ctr"/>
        <c:lblOffset val="100"/>
        <c:noMultiLvlLbl val="0"/>
      </c:catAx>
      <c:valAx>
        <c:axId val="1255078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223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rem ipsum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Lorem</c:v>
                </c:pt>
                <c:pt idx="1">
                  <c:v>Lorem</c:v>
                </c:pt>
                <c:pt idx="2">
                  <c:v>Lorem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</c:v>
                </c:pt>
                <c:pt idx="1">
                  <c:v>6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2F-41A1-A950-A54E3769699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orem ipsum2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Lorem</c:v>
                </c:pt>
                <c:pt idx="1">
                  <c:v>Lorem</c:v>
                </c:pt>
                <c:pt idx="2">
                  <c:v>Lorem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02F-41A1-A950-A54E3769699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orem ipsum3</c:v>
                </c:pt>
              </c:strCache>
            </c:strRef>
          </c:tx>
          <c:spPr>
            <a:solidFill>
              <a:srgbClr val="EFE40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Lorem</c:v>
                </c:pt>
                <c:pt idx="1">
                  <c:v>Lorem</c:v>
                </c:pt>
                <c:pt idx="2">
                  <c:v>Lorem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1</c:v>
                </c:pt>
                <c:pt idx="1">
                  <c:v>6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02F-41A1-A950-A54E376969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18223712"/>
        <c:axId val="12550784"/>
      </c:barChart>
      <c:catAx>
        <c:axId val="318223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0784"/>
        <c:crosses val="autoZero"/>
        <c:auto val="1"/>
        <c:lblAlgn val="ctr"/>
        <c:lblOffset val="100"/>
        <c:noMultiLvlLbl val="0"/>
      </c:catAx>
      <c:valAx>
        <c:axId val="1255078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223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Lorem Ipsu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220-4970-9591-F1138EC7903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rgbClr val="EFE40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20-4970-9591-F1138EC7903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20-4970-9591-F1138EC790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18223712"/>
        <c:axId val="12550784"/>
      </c:lineChart>
      <c:catAx>
        <c:axId val="318223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0784"/>
        <c:crosses val="autoZero"/>
        <c:auto val="1"/>
        <c:lblAlgn val="ctr"/>
        <c:lblOffset val="100"/>
        <c:noMultiLvlLbl val="0"/>
      </c:catAx>
      <c:valAx>
        <c:axId val="12550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223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6642549863120858E-2"/>
          <c:y val="0.8785183694078893"/>
          <c:w val="0.97335745013687913"/>
          <c:h val="0.105436640608648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26AB38-1B00-45E1-82E6-96A06E1E2CF4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22AACB-A117-4AD6-984D-A621D595DC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5000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kmuza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nalytic?utm_source=unsplash&amp;utm_medium=referral&amp;utm_content=creditCopyText" TargetMode="Externa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laybanks?utm_source=unsplash&amp;utm_medium=referral&amp;utm_content=creditCopyText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data?utm_source=unsplash&amp;utm_medium=referral&amp;utm_content=creditCopyText" TargetMode="Externa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goumbik?utm_source=unsplash&amp;utm_medium=referral&amp;utm_content=creditCopyText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nalytic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majortomagency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nalytic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lukechesser?utm_source=unsplash&amp;utm_medium=referral&amp;utm_content=creditCopyText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nalytic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ardmapr?utm_source=unsplash&amp;utm_medium=referral&amp;utm_content=creditCopyTex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nalytic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rd844?utm_source=unsplash&amp;utm_medium=referral&amp;utm_content=creditCopyText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data?utm_source=unsplash&amp;utm_medium=referral&amp;utm_content=creditCopyText" TargetMode="Externa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hrisliverani?utm_source=unsplash&amp;utm_medium=referral&amp;utm_content=creditCopyText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data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Carlos </a:t>
            </a:r>
            <a:r>
              <a:rPr lang="en-US" dirty="0" err="1">
                <a:hlinkClick r:id="rId3"/>
              </a:rPr>
              <a:t>Muza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22AACB-A117-4AD6-984D-A621D595DC2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05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Clay Bank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22AACB-A117-4AD6-984D-A621D595DC2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4475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Lukas Blazek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22AACB-A117-4AD6-984D-A621D595DC2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8228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E5F4B-E26A-41E3-B0CB-D243FAB882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27711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Major Tom Agency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22AACB-A117-4AD6-984D-A621D595DC2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3258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Luke </a:t>
            </a:r>
            <a:r>
              <a:rPr lang="en-US" dirty="0" err="1">
                <a:hlinkClick r:id="rId3"/>
              </a:rPr>
              <a:t>Chesse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22AACB-A117-4AD6-984D-A621D595DC2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0028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business'&gt;Business photo created by snowing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22AACB-A117-4AD6-984D-A621D595DC2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8268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business'&gt;Business photo created by </a:t>
            </a:r>
            <a:r>
              <a:rPr lang="en-US" dirty="0" err="1"/>
              <a:t>freepik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22AACB-A117-4AD6-984D-A621D595DC2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4985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CardMap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22AACB-A117-4AD6-984D-A621D595DC2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219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Stephen Dawso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22AACB-A117-4AD6-984D-A621D595DC2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6551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Chris </a:t>
            </a:r>
            <a:r>
              <a:rPr lang="en-US" dirty="0" err="1">
                <a:hlinkClick r:id="rId3"/>
              </a:rPr>
              <a:t>Liverani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22AACB-A117-4AD6-984D-A621D595DC2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862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3B2359-382D-46E7-B7BA-167505D488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4D073D-4F6C-4240-932F-E7F7F043AC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8E243B-DB4F-4A7A-A056-CE8EC5596B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00CB0-2BC6-4858-BD0E-B8E51FDEC994}" type="datetime1">
              <a:rPr lang="en-US" smtClean="0"/>
              <a:t>9/2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7A2782-23CA-4DC5-9009-BA9E0BAFF5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6C0B4C-2DC3-41EA-9DB9-63F80EADD9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157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12A10A-7FDC-4B20-8792-FD8684A11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907DF4-DD31-4672-A0FD-063DC61FB3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025702-53D3-4EE8-94EC-CD7D08E930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33848E-B277-48C8-AAFB-1C529DF938C3}" type="datetime1">
              <a:rPr lang="en-US" smtClean="0"/>
              <a:t>9/2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E06750-0728-4EAB-9204-6EB6B4111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E16377-96F4-4A28-9ECE-40B694EBF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611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ACFC547-A316-481F-84B6-1201DE5C14A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F21904A-4144-4F82-86F5-7568F9BF1A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0ECA93-F675-4228-8F17-2DC0756F96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36058-FBB0-42E5-86A1-AA8CF230C8F2}" type="datetime1">
              <a:rPr lang="en-US" smtClean="0"/>
              <a:t>9/2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5AE384-C440-4369-8087-24984E5798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1C7CBF-0F3A-4FC7-BF7E-1F13FBFA45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5535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78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6396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6847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1205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1012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6392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6907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9738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FD09531-1753-4179-89E6-27EDC6203F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7561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FCFBEA4-B061-418B-9BB9-730A4D70AB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 Light" panose="020B0502040204020203" pitchFamily="34" charset="0"/>
              <a:ea typeface="+mj-ea"/>
              <a:cs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1E3B07-932E-4719-BE08-0D695A1B9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77" y="365125"/>
            <a:ext cx="11214847" cy="804769"/>
          </a:xfrm>
        </p:spPr>
        <p:txBody>
          <a:bodyPr/>
          <a:lstStyle>
            <a:lvl1pPr>
              <a:defRPr b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CFAFA7-4E0D-4D53-8C1F-D054C1D78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8577" y="1331258"/>
            <a:ext cx="11214847" cy="486783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E2EED9-4C3D-4884-B379-6A7B11B5EB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88577" y="6356350"/>
            <a:ext cx="2743200" cy="365125"/>
          </a:xfrm>
        </p:spPr>
        <p:txBody>
          <a:bodyPr/>
          <a:lstStyle/>
          <a:p>
            <a:fld id="{300E5551-2951-44F4-82D0-1656C9F91909}" type="datetime1">
              <a:rPr lang="en-US" smtClean="0"/>
              <a:t>9/2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9862F0-6B98-4771-8897-E12D023FAB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4EDD15-DB7B-4771-A2D8-13FCAFE99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6059" y="6356350"/>
            <a:ext cx="2743200" cy="365125"/>
          </a:xfrm>
        </p:spPr>
        <p:txBody>
          <a:bodyPr/>
          <a:lstStyle/>
          <a:p>
            <a:fld id="{ED1852C8-76F4-4F7A-BC43-230EC86241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7964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4505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5194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017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80D33A-AF0D-4D4A-992B-24C043F0A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105AE6-A5AA-4FDE-AD0B-D78AEB7151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CE9443-95A7-4AF6-A2A1-4EEADE724D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70BE0-E7F1-4BF4-97E4-C0F5C13AEF25}" type="datetime1">
              <a:rPr lang="en-US" smtClean="0"/>
              <a:t>9/2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76F782-8DC5-4478-97FF-5FD712D6B8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062585-CFD3-4940-8E0F-55ED83FE38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10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FA27AA-ECD4-48EF-B345-99393A309B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01E854-1D2E-48B5-899D-3FD4D5BCF3A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A1A112-78E2-4FE1-B47C-9BCD0AE43E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17007F-0610-40EC-896F-5D559A0B29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10C2F0-8C45-441F-B274-12AF985F0CDF}" type="datetime1">
              <a:rPr lang="en-US" smtClean="0"/>
              <a:t>9/2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1FC0AF-A690-4EB9-8780-F480E88293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F957DF-9428-47EB-967B-6BA7F0EC68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9223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7B6FFC-555A-4052-9689-C54FAD1F9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23F964-12B8-45DD-8AD0-1297BB1D10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615357-5E8D-4386-83F2-6A9C9D58F4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FA3A14-7CE4-478A-A3F1-2166FF5BA8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598FEF-404D-4CD8-9AF4-572F01AE4E0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A60DF60-3245-4CD2-8056-28B3255831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9303AF-3A12-4B2A-A5A0-8FD7D74628A6}" type="datetime1">
              <a:rPr lang="en-US" smtClean="0"/>
              <a:t>9/22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BF758C-131E-40CB-8CF7-9F407D5BFD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83DFFED-3042-404F-9B06-61B6697F7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9391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A1AA9-D5DC-4898-A802-30F27B32D5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7B5C4D-04A4-4083-AFEC-234C71C3C8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596900-0F96-4040-9A7F-5DE4DEFC044A}" type="datetime1">
              <a:rPr lang="en-US" smtClean="0"/>
              <a:t>9/22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F776F8-DA34-4FD2-A6C3-445C7C4544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728F83-8170-4CDF-9043-A792588C1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1656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6D1495-1591-4D35-B19F-883AE5F397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250D23-F0D4-4FE8-8787-FC0E8BD7C881}" type="datetime1">
              <a:rPr lang="en-US" smtClean="0"/>
              <a:t>9/22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6A39350-BE9F-48C7-8251-1D4AF2771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A1BA4E-A7E1-44EE-9EE3-F1B82FCCE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2123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8651C0-FD0F-4A9F-BD6C-728B20423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70F4D0-BFAD-4D12-B5E3-8FFFDAE523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3323AB-EC94-492E-9A1A-A8F0ACD0C8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E24D63-932D-4C93-94BB-04F026D47E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A27EA4-FE74-4B13-B97C-105737B0CB85}" type="datetime1">
              <a:rPr lang="en-US" smtClean="0"/>
              <a:t>9/2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499527-BECE-4B76-842B-DB7BEC187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E6B8AC-C59C-4D57-B706-9BB17DF694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5253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B17E65-0F9F-4CF0-A8A8-151FDDC72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12DDAD8-4D0C-497A-93CE-B3553E3E00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71DFA9-3388-42C8-B879-33E647C91C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A7D00C5-62D5-44C9-95C5-D8DE8D2B1E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DB749-5F15-4295-8CCB-8CC4D18E5021}" type="datetime1">
              <a:rPr lang="en-US" smtClean="0"/>
              <a:t>9/2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B9D071-7880-41F6-A831-031ED83A60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2682B8-DD60-491B-99F7-C2E313063F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1417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B22B7E4-ADBB-446B-9AFE-22345E258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89073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2F51946-2BFD-4104-8968-BF2CAC7B7B77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D2EBF-9165-4E84-B1FA-39783A826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202003-8AAA-40BA-B5C4-D5AFC6910D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3298C1-5389-4F70-BD24-ACCAFAB44A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C9F7B4-5890-4887-BCCF-49A0837C0635}" type="datetime1">
              <a:rPr lang="en-US" smtClean="0"/>
              <a:t>9/2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244583-3EEF-4D3F-BA1B-659E053B76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B8528-3FA1-40F6-A103-38FD9D8E1F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1852C8-76F4-4F7A-BC43-230EC86241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569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2651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637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3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chart" Target="../charts/chart17.xml"/><Relationship Id="rId5" Type="http://schemas.openxmlformats.org/officeDocument/2006/relationships/oleObject" Target="../embeddings/oleObject13.bin"/><Relationship Id="rId10" Type="http://schemas.openxmlformats.org/officeDocument/2006/relationships/chart" Target="../charts/chart16.xml"/><Relationship Id="rId4" Type="http://schemas.openxmlformats.org/officeDocument/2006/relationships/notesSlide" Target="../notesSlides/notesSlide7.xml"/><Relationship Id="rId9" Type="http://schemas.openxmlformats.org/officeDocument/2006/relationships/chart" Target="../charts/chart15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png"/><Relationship Id="rId12" Type="http://schemas.openxmlformats.org/officeDocument/2006/relationships/chart" Target="../charts/chart2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openxmlformats.org/officeDocument/2006/relationships/chart" Target="../charts/chart20.xml"/><Relationship Id="rId5" Type="http://schemas.openxmlformats.org/officeDocument/2006/relationships/oleObject" Target="../embeddings/oleObject14.bin"/><Relationship Id="rId10" Type="http://schemas.openxmlformats.org/officeDocument/2006/relationships/chart" Target="../charts/chart19.xml"/><Relationship Id="rId4" Type="http://schemas.openxmlformats.org/officeDocument/2006/relationships/notesSlide" Target="../notesSlides/notesSlide8.xml"/><Relationship Id="rId9" Type="http://schemas.openxmlformats.org/officeDocument/2006/relationships/chart" Target="../charts/chart18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13" Type="http://schemas.openxmlformats.org/officeDocument/2006/relationships/chart" Target="../charts/chart26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5.png"/><Relationship Id="rId12" Type="http://schemas.openxmlformats.org/officeDocument/2006/relationships/chart" Target="../charts/chart25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chart" Target="../charts/chart24.xml"/><Relationship Id="rId5" Type="http://schemas.openxmlformats.org/officeDocument/2006/relationships/oleObject" Target="../embeddings/oleObject15.bin"/><Relationship Id="rId10" Type="http://schemas.openxmlformats.org/officeDocument/2006/relationships/chart" Target="../charts/chart23.xml"/><Relationship Id="rId4" Type="http://schemas.openxmlformats.org/officeDocument/2006/relationships/notesSlide" Target="../notesSlides/notesSlide9.xml"/><Relationship Id="rId9" Type="http://schemas.openxmlformats.org/officeDocument/2006/relationships/chart" Target="../charts/chart22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13" Type="http://schemas.openxmlformats.org/officeDocument/2006/relationships/chart" Target="../charts/chart3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6.png"/><Relationship Id="rId12" Type="http://schemas.openxmlformats.org/officeDocument/2006/relationships/chart" Target="../charts/chart30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openxmlformats.org/officeDocument/2006/relationships/chart" Target="../charts/chart29.xml"/><Relationship Id="rId5" Type="http://schemas.openxmlformats.org/officeDocument/2006/relationships/oleObject" Target="../embeddings/oleObject16.bin"/><Relationship Id="rId10" Type="http://schemas.openxmlformats.org/officeDocument/2006/relationships/chart" Target="../charts/chart28.xml"/><Relationship Id="rId4" Type="http://schemas.openxmlformats.org/officeDocument/2006/relationships/notesSlide" Target="../notesSlides/notesSlide10.xml"/><Relationship Id="rId9" Type="http://schemas.openxmlformats.org/officeDocument/2006/relationships/chart" Target="../charts/chart2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7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png"/><Relationship Id="rId12" Type="http://schemas.openxmlformats.org/officeDocument/2006/relationships/image" Target="../media/image10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8.emf"/><Relationship Id="rId11" Type="http://schemas.openxmlformats.org/officeDocument/2006/relationships/image" Target="../media/image6.svg"/><Relationship Id="rId5" Type="http://schemas.openxmlformats.org/officeDocument/2006/relationships/image" Target="../media/image1.emf"/><Relationship Id="rId10" Type="http://schemas.openxmlformats.org/officeDocument/2006/relationships/image" Target="../media/image5.png"/><Relationship Id="rId4" Type="http://schemas.openxmlformats.org/officeDocument/2006/relationships/oleObject" Target="../embeddings/oleObject18.bin"/><Relationship Id="rId9" Type="http://schemas.openxmlformats.org/officeDocument/2006/relationships/hyperlink" Target="https://24slides.com/onedollar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0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12" Type="http://schemas.openxmlformats.org/officeDocument/2006/relationships/hyperlink" Target="https://24slides.com/onedollar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9.sv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9.sv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13.jp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2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jp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9.svg"/><Relationship Id="rId4" Type="http://schemas.openxmlformats.org/officeDocument/2006/relationships/oleObject" Target="../embeddings/oleObject7.bin"/><Relationship Id="rId9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0.emf"/><Relationship Id="rId18" Type="http://schemas.openxmlformats.org/officeDocument/2006/relationships/image" Target="../media/image25.png"/><Relationship Id="rId3" Type="http://schemas.openxmlformats.org/officeDocument/2006/relationships/slideLayout" Target="../slideLayouts/slideLayout12.xml"/><Relationship Id="rId21" Type="http://schemas.openxmlformats.org/officeDocument/2006/relationships/image" Target="../media/image27.emf"/><Relationship Id="rId7" Type="http://schemas.openxmlformats.org/officeDocument/2006/relationships/image" Target="../media/image6.svg"/><Relationship Id="rId12" Type="http://schemas.openxmlformats.org/officeDocument/2006/relationships/image" Target="../media/image19.jpeg"/><Relationship Id="rId17" Type="http://schemas.openxmlformats.org/officeDocument/2006/relationships/image" Target="../media/image24.png"/><Relationship Id="rId2" Type="http://schemas.openxmlformats.org/officeDocument/2006/relationships/tags" Target="../tags/tag12.xml"/><Relationship Id="rId16" Type="http://schemas.openxmlformats.org/officeDocument/2006/relationships/image" Target="../media/image23.png"/><Relationship Id="rId20" Type="http://schemas.openxmlformats.org/officeDocument/2006/relationships/image" Target="../media/image26.jpeg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5" Type="http://schemas.openxmlformats.org/officeDocument/2006/relationships/image" Target="../media/image22.png"/><Relationship Id="rId10" Type="http://schemas.microsoft.com/office/2007/relationships/hdphoto" Target="../media/hdphoto1.wdp"/><Relationship Id="rId19" Type="http://schemas.microsoft.com/office/2007/relationships/hdphoto" Target="../media/hdphoto2.wdp"/><Relationship Id="rId4" Type="http://schemas.openxmlformats.org/officeDocument/2006/relationships/oleObject" Target="../embeddings/oleObject8.bin"/><Relationship Id="rId9" Type="http://schemas.openxmlformats.org/officeDocument/2006/relationships/image" Target="../media/image17.png"/><Relationship Id="rId14" Type="http://schemas.openxmlformats.org/officeDocument/2006/relationships/image" Target="../media/image21.png"/><Relationship Id="rId22" Type="http://schemas.openxmlformats.org/officeDocument/2006/relationships/image" Target="../media/image28.tif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12" Type="http://schemas.openxmlformats.org/officeDocument/2006/relationships/chart" Target="../charts/chart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chart" Target="../charts/chart3.xml"/><Relationship Id="rId5" Type="http://schemas.openxmlformats.org/officeDocument/2006/relationships/notesSlide" Target="../notesSlides/notesSlide3.xml"/><Relationship Id="rId10" Type="http://schemas.openxmlformats.org/officeDocument/2006/relationships/chart" Target="../charts/chart2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chart" Target="../charts/chart8.xml"/><Relationship Id="rId5" Type="http://schemas.openxmlformats.org/officeDocument/2006/relationships/oleObject" Target="../embeddings/oleObject10.bin"/><Relationship Id="rId10" Type="http://schemas.openxmlformats.org/officeDocument/2006/relationships/chart" Target="../charts/chart7.xml"/><Relationship Id="rId4" Type="http://schemas.openxmlformats.org/officeDocument/2006/relationships/notesSlide" Target="../notesSlides/notesSlide4.xml"/><Relationship Id="rId9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10" Type="http://schemas.openxmlformats.org/officeDocument/2006/relationships/chart" Target="../charts/chart10.xml"/><Relationship Id="rId4" Type="http://schemas.openxmlformats.org/officeDocument/2006/relationships/notesSlide" Target="../notesSlides/notesSlide5.xml"/><Relationship Id="rId9" Type="http://schemas.openxmlformats.org/officeDocument/2006/relationships/chart" Target="../charts/chart9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openxmlformats.org/officeDocument/2006/relationships/chart" Target="../charts/chart13.xml"/><Relationship Id="rId5" Type="http://schemas.openxmlformats.org/officeDocument/2006/relationships/oleObject" Target="../embeddings/oleObject12.bin"/><Relationship Id="rId10" Type="http://schemas.openxmlformats.org/officeDocument/2006/relationships/chart" Target="../charts/chart12.xml"/><Relationship Id="rId4" Type="http://schemas.openxmlformats.org/officeDocument/2006/relationships/notesSlide" Target="../notesSlides/notesSlide6.xml"/><Relationship Id="rId9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344E4F4-F07F-4B45-8987-6AB7A84A78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3139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6" name="Picture 45" descr="A computer sitting on top of a counter&#10;&#10;Description automatically generated">
            <a:extLst>
              <a:ext uri="{FF2B5EF4-FFF2-40B4-BE49-F238E27FC236}">
                <a16:creationId xmlns:a16="http://schemas.microsoft.com/office/drawing/2014/main" id="{C98D41B1-6E38-4246-BC92-1F319DE8C72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 t="-1" r="-2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1509828"/>
              <a:gd name="connsiteY0" fmla="*/ 0 h 5906724"/>
              <a:gd name="connsiteX1" fmla="*/ 11509828 w 11509828"/>
              <a:gd name="connsiteY1" fmla="*/ 0 h 5906724"/>
              <a:gd name="connsiteX2" fmla="*/ 11509828 w 11509828"/>
              <a:gd name="connsiteY2" fmla="*/ 5906724 h 5906724"/>
              <a:gd name="connsiteX3" fmla="*/ 0 w 11509828"/>
              <a:gd name="connsiteY3" fmla="*/ 5906724 h 5906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09828" h="5906724">
                <a:moveTo>
                  <a:pt x="0" y="0"/>
                </a:moveTo>
                <a:lnTo>
                  <a:pt x="11509828" y="0"/>
                </a:lnTo>
                <a:lnTo>
                  <a:pt x="11509828" y="5906724"/>
                </a:lnTo>
                <a:lnTo>
                  <a:pt x="0" y="5906724"/>
                </a:lnTo>
                <a:close/>
              </a:path>
            </a:pathLst>
          </a:cu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BDBAAFDA-FA8A-4C15-A864-BD9A596640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81CCCAF-4B2E-4814-A68F-398B4601414F}"/>
              </a:ext>
            </a:extLst>
          </p:cNvPr>
          <p:cNvSpPr/>
          <p:nvPr/>
        </p:nvSpPr>
        <p:spPr>
          <a:xfrm>
            <a:off x="1341437" y="981487"/>
            <a:ext cx="9326563" cy="4639412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3" name="Picture 62" descr="A computer sitting on top of a counter&#10;&#10;Description automatically generated">
            <a:extLst>
              <a:ext uri="{FF2B5EF4-FFF2-40B4-BE49-F238E27FC236}">
                <a16:creationId xmlns:a16="http://schemas.microsoft.com/office/drawing/2014/main" id="{6CED5C37-AF40-4C0D-9F84-A4883DEDD4C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 r="-2"/>
          <a:stretch/>
        </p:blipFill>
        <p:spPr>
          <a:xfrm>
            <a:off x="0" y="1801662"/>
            <a:ext cx="12192000" cy="2993216"/>
          </a:xfrm>
          <a:custGeom>
            <a:avLst/>
            <a:gdLst>
              <a:gd name="connsiteX0" fmla="*/ 0 w 12192000"/>
              <a:gd name="connsiteY0" fmla="*/ 0 h 2993216"/>
              <a:gd name="connsiteX1" fmla="*/ 12192000 w 12192000"/>
              <a:gd name="connsiteY1" fmla="*/ 0 h 2993216"/>
              <a:gd name="connsiteX2" fmla="*/ 12192000 w 12192000"/>
              <a:gd name="connsiteY2" fmla="*/ 2993216 h 2993216"/>
              <a:gd name="connsiteX3" fmla="*/ 0 w 12192000"/>
              <a:gd name="connsiteY3" fmla="*/ 2993216 h 2993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993216">
                <a:moveTo>
                  <a:pt x="0" y="0"/>
                </a:moveTo>
                <a:lnTo>
                  <a:pt x="12192000" y="0"/>
                </a:lnTo>
                <a:lnTo>
                  <a:pt x="12192000" y="2993216"/>
                </a:lnTo>
                <a:lnTo>
                  <a:pt x="0" y="2993216"/>
                </a:lnTo>
                <a:close/>
              </a:path>
            </a:pathLst>
          </a:custGeom>
        </p:spPr>
      </p:pic>
      <p:sp>
        <p:nvSpPr>
          <p:cNvPr id="48" name="Title 3">
            <a:extLst>
              <a:ext uri="{FF2B5EF4-FFF2-40B4-BE49-F238E27FC236}">
                <a16:creationId xmlns:a16="http://schemas.microsoft.com/office/drawing/2014/main" id="{68359F2D-52CF-4F94-A937-87A14B0A81CC}"/>
              </a:ext>
            </a:extLst>
          </p:cNvPr>
          <p:cNvSpPr txBox="1">
            <a:spLocks/>
          </p:cNvSpPr>
          <p:nvPr/>
        </p:nvSpPr>
        <p:spPr>
          <a:xfrm>
            <a:off x="0" y="1801662"/>
            <a:ext cx="12192000" cy="2993216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DBA2E8CF-0540-41DE-8680-C96992FDBE23}"/>
              </a:ext>
            </a:extLst>
          </p:cNvPr>
          <p:cNvSpPr txBox="1">
            <a:spLocks/>
          </p:cNvSpPr>
          <p:nvPr/>
        </p:nvSpPr>
        <p:spPr>
          <a:xfrm>
            <a:off x="1524000" y="1420290"/>
            <a:ext cx="9144000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639BC18F-3A61-42EF-8B0B-59BCEB140D74}"/>
              </a:ext>
            </a:extLst>
          </p:cNvPr>
          <p:cNvSpPr txBox="1">
            <a:spLocks/>
          </p:cNvSpPr>
          <p:nvPr/>
        </p:nvSpPr>
        <p:spPr>
          <a:xfrm>
            <a:off x="1524000" y="3305649"/>
            <a:ext cx="9144000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C8E7EEF-B67D-42AD-B228-37DCBDA1C933}"/>
              </a:ext>
            </a:extLst>
          </p:cNvPr>
          <p:cNvGrpSpPr/>
          <p:nvPr/>
        </p:nvGrpSpPr>
        <p:grpSpPr>
          <a:xfrm>
            <a:off x="9217868" y="5404700"/>
            <a:ext cx="1237472" cy="381665"/>
            <a:chOff x="1365741" y="655161"/>
            <a:chExt cx="1440180" cy="444183"/>
          </a:xfrm>
        </p:grpSpPr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0311C9F5-1EF7-444D-BBAF-3DF939B54EF1}"/>
                </a:ext>
              </a:extLst>
            </p:cNvPr>
            <p:cNvSpPr/>
            <p:nvPr/>
          </p:nvSpPr>
          <p:spPr>
            <a:xfrm>
              <a:off x="1365741" y="655161"/>
              <a:ext cx="1440180" cy="44418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4" name="Picture 25">
              <a:extLst>
                <a:ext uri="{FF2B5EF4-FFF2-40B4-BE49-F238E27FC236}">
                  <a16:creationId xmlns:a16="http://schemas.microsoft.com/office/drawing/2014/main" id="{9E07D560-F9C4-46EB-9A1F-165B1ACA49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5075" y="697542"/>
              <a:ext cx="1021512" cy="359421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52" name="Title 3">
            <a:extLst>
              <a:ext uri="{FF2B5EF4-FFF2-40B4-BE49-F238E27FC236}">
                <a16:creationId xmlns:a16="http://schemas.microsoft.com/office/drawing/2014/main" id="{4F41209A-E3C1-4F2F-B8E3-6577DA89953E}"/>
              </a:ext>
            </a:extLst>
          </p:cNvPr>
          <p:cNvSpPr txBox="1">
            <a:spLocks/>
          </p:cNvSpPr>
          <p:nvPr/>
        </p:nvSpPr>
        <p:spPr>
          <a:xfrm>
            <a:off x="1577058" y="2382784"/>
            <a:ext cx="9037884" cy="1938914"/>
          </a:xfrm>
          <a:prstGeom prst="rect">
            <a:avLst/>
          </a:prstGeom>
          <a:noFill/>
        </p:spPr>
        <p:txBody>
          <a:bodyPr vert="horz" lIns="0" tIns="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6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alytics</a:t>
            </a:r>
          </a:p>
          <a:p>
            <a:pPr algn="l"/>
            <a:r>
              <a:rPr lang="en-US" sz="6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shboard Templates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3E0AC4D9-8000-4BDD-8BB7-D630E309FEB2}"/>
              </a:ext>
            </a:extLst>
          </p:cNvPr>
          <p:cNvGrpSpPr/>
          <p:nvPr/>
        </p:nvGrpSpPr>
        <p:grpSpPr>
          <a:xfrm>
            <a:off x="1577058" y="1801662"/>
            <a:ext cx="975642" cy="160488"/>
            <a:chOff x="1577058" y="1801662"/>
            <a:chExt cx="975642" cy="160488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95BBC9B0-205E-45F4-ACC9-E4E6FDDA3942}"/>
                </a:ext>
              </a:extLst>
            </p:cNvPr>
            <p:cNvSpPr/>
            <p:nvPr/>
          </p:nvSpPr>
          <p:spPr>
            <a:xfrm>
              <a:off x="1872333" y="1801662"/>
              <a:ext cx="680367" cy="16048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59C2B64B-ECBA-472C-A982-332B19456E15}"/>
                </a:ext>
              </a:extLst>
            </p:cNvPr>
            <p:cNvSpPr/>
            <p:nvPr/>
          </p:nvSpPr>
          <p:spPr>
            <a:xfrm>
              <a:off x="1729458" y="1801662"/>
              <a:ext cx="680367" cy="160488"/>
            </a:xfrm>
            <a:prstGeom prst="rect">
              <a:avLst/>
            </a:prstGeom>
            <a:solidFill>
              <a:srgbClr val="EFE4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288EA8E-A322-4869-BEC0-7E046E31C4A5}"/>
                </a:ext>
              </a:extLst>
            </p:cNvPr>
            <p:cNvSpPr/>
            <p:nvPr/>
          </p:nvSpPr>
          <p:spPr>
            <a:xfrm>
              <a:off x="1577058" y="1801662"/>
              <a:ext cx="670842" cy="16048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6237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EC36D610-E680-483E-9F36-DB322BC9A1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725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Picture 34" descr="A hand holding a cellphone&#10;&#10;Description automatically generated">
            <a:extLst>
              <a:ext uri="{FF2B5EF4-FFF2-40B4-BE49-F238E27FC236}">
                <a16:creationId xmlns:a16="http://schemas.microsoft.com/office/drawing/2014/main" id="{290341DB-2E6C-4986-802B-E6493B05E54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524750"/>
            <a:ext cx="5867398" cy="458264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0BF1A6-0D49-46F1-B8CF-A71A0C672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ummar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1144FF-6367-4DE2-B499-454EE8CD9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10</a:t>
            </a:fld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D3759F6-5F1A-4D86-A043-E9AA54B18F0E}"/>
              </a:ext>
            </a:extLst>
          </p:cNvPr>
          <p:cNvGrpSpPr/>
          <p:nvPr/>
        </p:nvGrpSpPr>
        <p:grpSpPr>
          <a:xfrm>
            <a:off x="6485113" y="2997076"/>
            <a:ext cx="3502892" cy="1640042"/>
            <a:chOff x="6096001" y="2939926"/>
            <a:chExt cx="7590970" cy="1640042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10AE0E7-BCCE-4238-B5A2-687FE7BD3630}"/>
                </a:ext>
              </a:extLst>
            </p:cNvPr>
            <p:cNvCxnSpPr/>
            <p:nvPr/>
          </p:nvCxnSpPr>
          <p:spPr>
            <a:xfrm flipV="1">
              <a:off x="6096001" y="2939926"/>
              <a:ext cx="7590970" cy="10458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235C6EE7-5594-45AC-A376-FF76553BF4BA}"/>
                </a:ext>
              </a:extLst>
            </p:cNvPr>
            <p:cNvCxnSpPr/>
            <p:nvPr/>
          </p:nvCxnSpPr>
          <p:spPr>
            <a:xfrm flipV="1">
              <a:off x="6096001" y="4569510"/>
              <a:ext cx="7590970" cy="10458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6" name="Content Placeholder 14">
            <a:extLst>
              <a:ext uri="{FF2B5EF4-FFF2-40B4-BE49-F238E27FC236}">
                <a16:creationId xmlns:a16="http://schemas.microsoft.com/office/drawing/2014/main" id="{00316695-C07E-4B26-AA8A-21ACCB2D8A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7658416"/>
              </p:ext>
            </p:extLst>
          </p:nvPr>
        </p:nvGraphicFramePr>
        <p:xfrm>
          <a:off x="9978870" y="1384301"/>
          <a:ext cx="2010784" cy="1623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7" name="Content Placeholder 14">
            <a:extLst>
              <a:ext uri="{FF2B5EF4-FFF2-40B4-BE49-F238E27FC236}">
                <a16:creationId xmlns:a16="http://schemas.microsoft.com/office/drawing/2014/main" id="{5573615C-1365-4729-AE74-103D8EC9DD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7786368"/>
              </p:ext>
            </p:extLst>
          </p:nvPr>
        </p:nvGraphicFramePr>
        <p:xfrm>
          <a:off x="9978870" y="2997201"/>
          <a:ext cx="2010784" cy="1623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8" name="Content Placeholder 14">
            <a:extLst>
              <a:ext uri="{FF2B5EF4-FFF2-40B4-BE49-F238E27FC236}">
                <a16:creationId xmlns:a16="http://schemas.microsoft.com/office/drawing/2014/main" id="{47D55DBD-2865-43CF-B194-677BF59BC2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2595275"/>
              </p:ext>
            </p:extLst>
          </p:nvPr>
        </p:nvGraphicFramePr>
        <p:xfrm>
          <a:off x="9978870" y="4643468"/>
          <a:ext cx="2010784" cy="1623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2" name="Oval 21">
            <a:extLst>
              <a:ext uri="{FF2B5EF4-FFF2-40B4-BE49-F238E27FC236}">
                <a16:creationId xmlns:a16="http://schemas.microsoft.com/office/drawing/2014/main" id="{D8563BD0-9B54-48E4-927B-2D7F86A2AB1E}"/>
              </a:ext>
            </a:extLst>
          </p:cNvPr>
          <p:cNvSpPr/>
          <p:nvPr/>
        </p:nvSpPr>
        <p:spPr>
          <a:xfrm>
            <a:off x="10438065" y="1645153"/>
            <a:ext cx="1101529" cy="1101529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AA35D18-C566-41BC-B003-131F3573666F}"/>
              </a:ext>
            </a:extLst>
          </p:cNvPr>
          <p:cNvSpPr/>
          <p:nvPr/>
        </p:nvSpPr>
        <p:spPr>
          <a:xfrm>
            <a:off x="10438065" y="3273928"/>
            <a:ext cx="1101529" cy="1101529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C1E3985-9F6E-4B43-89AE-81E4F329A3CC}"/>
              </a:ext>
            </a:extLst>
          </p:cNvPr>
          <p:cNvSpPr/>
          <p:nvPr/>
        </p:nvSpPr>
        <p:spPr>
          <a:xfrm>
            <a:off x="10438065" y="4902703"/>
            <a:ext cx="1101529" cy="1101529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CE1912E-60C1-4B4D-9910-1D4025F08235}"/>
              </a:ext>
            </a:extLst>
          </p:cNvPr>
          <p:cNvSpPr/>
          <p:nvPr/>
        </p:nvSpPr>
        <p:spPr>
          <a:xfrm>
            <a:off x="10331930" y="1927196"/>
            <a:ext cx="1308099" cy="53744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algn="ctr">
              <a:buClr>
                <a:schemeClr val="accent6"/>
              </a:buClr>
            </a:pPr>
            <a:r>
              <a:rPr lang="en-US" sz="2400" b="1" i="0" dirty="0">
                <a:solidFill>
                  <a:schemeClr val="accent6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40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AD83A64-FF1C-48EE-952F-4EDCC2124CDB}"/>
              </a:ext>
            </a:extLst>
          </p:cNvPr>
          <p:cNvSpPr/>
          <p:nvPr/>
        </p:nvSpPr>
        <p:spPr>
          <a:xfrm>
            <a:off x="10331930" y="3542636"/>
            <a:ext cx="1308099" cy="53744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algn="ctr">
              <a:buClr>
                <a:schemeClr val="accent6"/>
              </a:buClr>
            </a:pPr>
            <a:r>
              <a:rPr lang="en-US" sz="2400" b="1" i="0" dirty="0">
                <a:solidFill>
                  <a:srgbClr val="FF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75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4BF45E4-9A32-4740-BE5A-D847249B4D6C}"/>
              </a:ext>
            </a:extLst>
          </p:cNvPr>
          <p:cNvSpPr/>
          <p:nvPr/>
        </p:nvSpPr>
        <p:spPr>
          <a:xfrm>
            <a:off x="10331930" y="5187753"/>
            <a:ext cx="1308099" cy="53744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algn="ctr">
              <a:buClr>
                <a:schemeClr val="accent6"/>
              </a:buClr>
            </a:pPr>
            <a:r>
              <a:rPr lang="en-US" sz="2400" b="1" i="0" dirty="0">
                <a:solidFill>
                  <a:srgbClr val="EFE405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80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307A08B-8515-4E80-9FC5-816F096CA83B}"/>
              </a:ext>
            </a:extLst>
          </p:cNvPr>
          <p:cNvSpPr/>
          <p:nvPr/>
        </p:nvSpPr>
        <p:spPr>
          <a:xfrm>
            <a:off x="6628973" y="1524750"/>
            <a:ext cx="3359032" cy="130461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>
              <a:spcBef>
                <a:spcPts val="600"/>
              </a:spcBef>
              <a:buClr>
                <a:schemeClr val="accent6"/>
              </a:buClr>
            </a:pP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 magna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9E3496A-00D8-4C18-B37B-AB4F13DE6A1F}"/>
              </a:ext>
            </a:extLst>
          </p:cNvPr>
          <p:cNvSpPr/>
          <p:nvPr/>
        </p:nvSpPr>
        <p:spPr>
          <a:xfrm>
            <a:off x="6628973" y="3156512"/>
            <a:ext cx="3359032" cy="130461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>
              <a:spcBef>
                <a:spcPts val="600"/>
              </a:spcBef>
              <a:buClr>
                <a:schemeClr val="accent6"/>
              </a:buClr>
            </a:pP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 magna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0770D7A-5578-45E1-B069-912DA58A473C}"/>
              </a:ext>
            </a:extLst>
          </p:cNvPr>
          <p:cNvSpPr/>
          <p:nvPr/>
        </p:nvSpPr>
        <p:spPr>
          <a:xfrm>
            <a:off x="6628973" y="4802779"/>
            <a:ext cx="3359032" cy="130461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>
              <a:spcBef>
                <a:spcPts val="600"/>
              </a:spcBef>
              <a:buClr>
                <a:schemeClr val="accent6"/>
              </a:buClr>
            </a:pP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 magna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D5213EB-D5E6-491B-A63C-CD597C305F90}"/>
              </a:ext>
            </a:extLst>
          </p:cNvPr>
          <p:cNvSpPr/>
          <p:nvPr/>
        </p:nvSpPr>
        <p:spPr>
          <a:xfrm>
            <a:off x="1" y="1524750"/>
            <a:ext cx="5867399" cy="4582640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4CB9B6E7-4C3B-4B25-A5CA-9DAEEF3D52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7292134"/>
              </p:ext>
            </p:extLst>
          </p:nvPr>
        </p:nvGraphicFramePr>
        <p:xfrm>
          <a:off x="468425" y="1645153"/>
          <a:ext cx="4941775" cy="258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A4368D8A-B090-46C0-84D9-A3CE2321AF86}"/>
              </a:ext>
            </a:extLst>
          </p:cNvPr>
          <p:cNvSpPr/>
          <p:nvPr/>
        </p:nvSpPr>
        <p:spPr>
          <a:xfrm>
            <a:off x="488577" y="4375456"/>
            <a:ext cx="4921623" cy="14465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054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905172-C5CA-439E-AB5D-3314B9638D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9940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 descr="A picture containing text&#10;&#10;Description automatically generated">
            <a:extLst>
              <a:ext uri="{FF2B5EF4-FFF2-40B4-BE49-F238E27FC236}">
                <a16:creationId xmlns:a16="http://schemas.microsoft.com/office/drawing/2014/main" id="{A3EF834A-0835-4731-AECF-D1FFB251E9D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109250"/>
            <a:ext cx="12192000" cy="21698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0C34EEF-067A-4DF5-B367-185BA614D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ummar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536E4B-522E-4124-A584-3DDA835630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11</a:t>
            </a:fld>
            <a:endParaRPr lang="en-US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5883D106-72B8-465E-BF78-1C7A40209F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57412426"/>
              </p:ext>
            </p:extLst>
          </p:nvPr>
        </p:nvGraphicFramePr>
        <p:xfrm>
          <a:off x="488575" y="1331258"/>
          <a:ext cx="3502400" cy="26166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0D2DD3C-46E7-462F-A1DA-926CC73D7B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8908592"/>
              </p:ext>
            </p:extLst>
          </p:nvPr>
        </p:nvGraphicFramePr>
        <p:xfrm>
          <a:off x="4334861" y="1331258"/>
          <a:ext cx="3502400" cy="26166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9EC91893-F160-4B62-9841-B9750EE5F6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2943307"/>
              </p:ext>
            </p:extLst>
          </p:nvPr>
        </p:nvGraphicFramePr>
        <p:xfrm>
          <a:off x="8181147" y="1331258"/>
          <a:ext cx="3502400" cy="26166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39E84EFE-A9B3-471B-A05A-8B907C63A891}"/>
              </a:ext>
            </a:extLst>
          </p:cNvPr>
          <p:cNvSpPr/>
          <p:nvPr/>
        </p:nvSpPr>
        <p:spPr>
          <a:xfrm>
            <a:off x="0" y="4109250"/>
            <a:ext cx="12192000" cy="2169829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8E1CBF2E-4D5A-4A55-8B28-29F6A0A4B6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2800913"/>
              </p:ext>
            </p:extLst>
          </p:nvPr>
        </p:nvGraphicFramePr>
        <p:xfrm>
          <a:off x="468425" y="4368800"/>
          <a:ext cx="7712722" cy="172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4A01D348-78BD-42AD-80A2-B48EB7B7E608}"/>
              </a:ext>
            </a:extLst>
          </p:cNvPr>
          <p:cNvSpPr/>
          <p:nvPr/>
        </p:nvSpPr>
        <p:spPr>
          <a:xfrm>
            <a:off x="8309027" y="4416661"/>
            <a:ext cx="3374516" cy="17272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600"/>
              </a:spcBef>
              <a:buClr>
                <a:schemeClr val="accent6"/>
              </a:buClr>
            </a:pP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nim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ad minim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veniam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quis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nostrud</a:t>
            </a:r>
            <a:endParaRPr lang="en-US" sz="16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25737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C9B447DE-DB29-4A70-847D-F90116BDDF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1783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Picture 32">
            <a:extLst>
              <a:ext uri="{FF2B5EF4-FFF2-40B4-BE49-F238E27FC236}">
                <a16:creationId xmlns:a16="http://schemas.microsoft.com/office/drawing/2014/main" id="{A72BD9B9-7025-4324-9B6B-9C08F846E1B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27152"/>
            <a:ext cx="2755898" cy="4939549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82E8C2D-5FDF-4825-98C7-335804C45731}"/>
              </a:ext>
            </a:extLst>
          </p:cNvPr>
          <p:cNvSpPr/>
          <p:nvPr/>
        </p:nvSpPr>
        <p:spPr>
          <a:xfrm>
            <a:off x="0" y="1327152"/>
            <a:ext cx="2755900" cy="4951928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B455E4-C4FD-46FB-B5FB-041D8AB227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77" y="365125"/>
            <a:ext cx="11214847" cy="804769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ummar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2937F7-A0AB-46FD-94BE-AEFF4A43D7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12</a:t>
            </a:fld>
            <a:endParaRPr lang="en-US"/>
          </a:p>
        </p:txBody>
      </p:sp>
      <p:graphicFrame>
        <p:nvGraphicFramePr>
          <p:cNvPr id="11" name="Content Placeholder 14">
            <a:extLst>
              <a:ext uri="{FF2B5EF4-FFF2-40B4-BE49-F238E27FC236}">
                <a16:creationId xmlns:a16="http://schemas.microsoft.com/office/drawing/2014/main" id="{275D711C-F00F-4719-8BBC-4099C8DD36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86600401"/>
              </p:ext>
            </p:extLst>
          </p:nvPr>
        </p:nvGraphicFramePr>
        <p:xfrm>
          <a:off x="546892" y="1458084"/>
          <a:ext cx="1827985" cy="14756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2" name="Content Placeholder 14">
            <a:extLst>
              <a:ext uri="{FF2B5EF4-FFF2-40B4-BE49-F238E27FC236}">
                <a16:creationId xmlns:a16="http://schemas.microsoft.com/office/drawing/2014/main" id="{CF4B6E3C-4CFB-4470-911F-63C464C888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75069324"/>
              </p:ext>
            </p:extLst>
          </p:nvPr>
        </p:nvGraphicFramePr>
        <p:xfrm>
          <a:off x="546892" y="3070984"/>
          <a:ext cx="1827985" cy="14756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3" name="Content Placeholder 14">
            <a:extLst>
              <a:ext uri="{FF2B5EF4-FFF2-40B4-BE49-F238E27FC236}">
                <a16:creationId xmlns:a16="http://schemas.microsoft.com/office/drawing/2014/main" id="{0FE75FB2-9D3C-46B0-BB60-1ADF009001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0269654"/>
              </p:ext>
            </p:extLst>
          </p:nvPr>
        </p:nvGraphicFramePr>
        <p:xfrm>
          <a:off x="546892" y="4717251"/>
          <a:ext cx="1827985" cy="14756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E8ACB355-BC35-430F-90C5-EEF76923A21A}"/>
              </a:ext>
            </a:extLst>
          </p:cNvPr>
          <p:cNvSpPr/>
          <p:nvPr/>
        </p:nvSpPr>
        <p:spPr>
          <a:xfrm>
            <a:off x="808552" y="1927196"/>
            <a:ext cx="1308099" cy="53744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algn="ctr">
              <a:buClr>
                <a:schemeClr val="accent6"/>
              </a:buClr>
            </a:pPr>
            <a:r>
              <a:rPr lang="en-US" sz="2400" b="1" i="0" dirty="0">
                <a:solidFill>
                  <a:schemeClr val="accent6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55%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637745-CE7E-4A6B-8DD8-7FB0BB22FCD3}"/>
              </a:ext>
            </a:extLst>
          </p:cNvPr>
          <p:cNvSpPr/>
          <p:nvPr/>
        </p:nvSpPr>
        <p:spPr>
          <a:xfrm>
            <a:off x="808552" y="3542636"/>
            <a:ext cx="1308099" cy="53744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algn="ctr">
              <a:buClr>
                <a:schemeClr val="accent6"/>
              </a:buClr>
            </a:pPr>
            <a:r>
              <a:rPr lang="en-US" sz="2400" b="1" i="0" dirty="0">
                <a:solidFill>
                  <a:srgbClr val="FF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30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10994E8-FAC0-460D-ACAD-ED205C8448F3}"/>
              </a:ext>
            </a:extLst>
          </p:cNvPr>
          <p:cNvSpPr/>
          <p:nvPr/>
        </p:nvSpPr>
        <p:spPr>
          <a:xfrm>
            <a:off x="808552" y="5187753"/>
            <a:ext cx="1308099" cy="537443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algn="ctr">
              <a:buClr>
                <a:schemeClr val="accent6"/>
              </a:buClr>
            </a:pPr>
            <a:r>
              <a:rPr lang="en-US" sz="2400" b="1" dirty="0">
                <a:solidFill>
                  <a:srgbClr val="EFE40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  <a:r>
              <a:rPr lang="en-US" sz="2400" b="1" i="0" dirty="0">
                <a:solidFill>
                  <a:srgbClr val="EFE405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0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F0FD758-8B0A-4D83-BC33-4DE713049948}"/>
              </a:ext>
            </a:extLst>
          </p:cNvPr>
          <p:cNvSpPr/>
          <p:nvPr/>
        </p:nvSpPr>
        <p:spPr>
          <a:xfrm>
            <a:off x="2755899" y="1327152"/>
            <a:ext cx="6500159" cy="4951928"/>
          </a:xfrm>
          <a:prstGeom prst="rect">
            <a:avLst/>
          </a:prstGeom>
          <a:solidFill>
            <a:schemeClr val="bg1">
              <a:lumMod val="9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BCB6256-EA04-4476-9448-DE8F336704ED}"/>
              </a:ext>
            </a:extLst>
          </p:cNvPr>
          <p:cNvGrpSpPr/>
          <p:nvPr/>
        </p:nvGrpSpPr>
        <p:grpSpPr>
          <a:xfrm>
            <a:off x="488577" y="2997076"/>
            <a:ext cx="2010784" cy="1640042"/>
            <a:chOff x="6096001" y="2939926"/>
            <a:chExt cx="7590970" cy="1640042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38CD5E3-69E0-4C96-94C1-DF98216D6739}"/>
                </a:ext>
              </a:extLst>
            </p:cNvPr>
            <p:cNvCxnSpPr/>
            <p:nvPr/>
          </p:nvCxnSpPr>
          <p:spPr>
            <a:xfrm flipV="1">
              <a:off x="6096001" y="2939926"/>
              <a:ext cx="7590970" cy="10458"/>
            </a:xfrm>
            <a:prstGeom prst="line">
              <a:avLst/>
            </a:prstGeom>
            <a:ln w="9525">
              <a:solidFill>
                <a:schemeClr val="bg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5CFFB075-73E5-4E2E-AFE7-1981157E0E5D}"/>
                </a:ext>
              </a:extLst>
            </p:cNvPr>
            <p:cNvCxnSpPr/>
            <p:nvPr/>
          </p:nvCxnSpPr>
          <p:spPr>
            <a:xfrm flipV="1">
              <a:off x="6096001" y="4569510"/>
              <a:ext cx="7590970" cy="10458"/>
            </a:xfrm>
            <a:prstGeom prst="line">
              <a:avLst/>
            </a:prstGeom>
            <a:ln w="9525">
              <a:solidFill>
                <a:schemeClr val="bg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6EBCF9F4-3B9C-44BE-BE3F-F7365C1D48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7282938"/>
              </p:ext>
            </p:extLst>
          </p:nvPr>
        </p:nvGraphicFramePr>
        <p:xfrm>
          <a:off x="3211392" y="1538515"/>
          <a:ext cx="5613294" cy="3081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6AD4E49D-CBE4-4CA7-B452-F83E36C7D1D0}"/>
              </a:ext>
            </a:extLst>
          </p:cNvPr>
          <p:cNvSpPr/>
          <p:nvPr/>
        </p:nvSpPr>
        <p:spPr>
          <a:xfrm>
            <a:off x="3244477" y="4819649"/>
            <a:ext cx="2755901" cy="121361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600"/>
              </a:spcBef>
              <a:buClr>
                <a:schemeClr val="accent6"/>
              </a:buClr>
            </a:pP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endParaRPr lang="en-US" sz="1600" b="0" i="0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5393AFD-8E73-4A1A-A35C-36D01431D80A}"/>
              </a:ext>
            </a:extLst>
          </p:cNvPr>
          <p:cNvSpPr/>
          <p:nvPr/>
        </p:nvSpPr>
        <p:spPr>
          <a:xfrm>
            <a:off x="6277962" y="4819649"/>
            <a:ext cx="2755901" cy="121361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600"/>
              </a:spcBef>
              <a:buClr>
                <a:schemeClr val="accent6"/>
              </a:buClr>
            </a:pP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endParaRPr lang="en-US" sz="1600" b="0" i="0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263E6998-B0CC-4103-8D1D-0A8C542FA0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9260459"/>
              </p:ext>
            </p:extLst>
          </p:nvPr>
        </p:nvGraphicFramePr>
        <p:xfrm>
          <a:off x="9393408" y="1327152"/>
          <a:ext cx="2310016" cy="49395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245936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E04CA9-A562-49FD-B25D-EDE2C7F416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6551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Picture 36" descr="A screen shot of a computer&#10;&#10;Description automatically generated">
            <a:extLst>
              <a:ext uri="{FF2B5EF4-FFF2-40B4-BE49-F238E27FC236}">
                <a16:creationId xmlns:a16="http://schemas.microsoft.com/office/drawing/2014/main" id="{100E1A36-9F50-42C7-8735-9DAB10C8699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87209"/>
            <a:ext cx="12192000" cy="5688107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A91AE1D6-652B-4381-8810-E83F6DE5EAA0}"/>
              </a:ext>
            </a:extLst>
          </p:cNvPr>
          <p:cNvSpPr/>
          <p:nvPr/>
        </p:nvSpPr>
        <p:spPr>
          <a:xfrm>
            <a:off x="0" y="1187209"/>
            <a:ext cx="12192000" cy="5670792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69A0F1-7BD7-4227-BD7C-875757014A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ummar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AF60B5-B866-41D6-BBD0-1C383EA381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13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13B827-9A00-4F54-BF38-9032BF1724BA}"/>
              </a:ext>
            </a:extLst>
          </p:cNvPr>
          <p:cNvCxnSpPr>
            <a:cxnSpLocks/>
          </p:cNvCxnSpPr>
          <p:nvPr/>
        </p:nvCxnSpPr>
        <p:spPr>
          <a:xfrm>
            <a:off x="495300" y="3765175"/>
            <a:ext cx="112204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43832ADC-31DF-4A86-B18F-F2DF6DF5F452}"/>
              </a:ext>
            </a:extLst>
          </p:cNvPr>
          <p:cNvSpPr/>
          <p:nvPr/>
        </p:nvSpPr>
        <p:spPr>
          <a:xfrm>
            <a:off x="1490688" y="3691858"/>
            <a:ext cx="146635" cy="146635"/>
          </a:xfrm>
          <a:prstGeom prst="ellipse">
            <a:avLst/>
          </a:prstGeom>
          <a:solidFill>
            <a:srgbClr val="EFE405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64B3306-7CD7-4875-AAC4-8743F3EFCB18}"/>
              </a:ext>
            </a:extLst>
          </p:cNvPr>
          <p:cNvSpPr/>
          <p:nvPr/>
        </p:nvSpPr>
        <p:spPr>
          <a:xfrm>
            <a:off x="3742398" y="3691858"/>
            <a:ext cx="146635" cy="146635"/>
          </a:xfrm>
          <a:prstGeom prst="ellipse">
            <a:avLst/>
          </a:prstGeom>
          <a:solidFill>
            <a:srgbClr val="EFE405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3BD2BFF-F6B8-4A4A-BFEA-F4C3BC0EE8AF}"/>
              </a:ext>
            </a:extLst>
          </p:cNvPr>
          <p:cNvSpPr/>
          <p:nvPr/>
        </p:nvSpPr>
        <p:spPr>
          <a:xfrm>
            <a:off x="5994108" y="3691858"/>
            <a:ext cx="146635" cy="146635"/>
          </a:xfrm>
          <a:prstGeom prst="ellipse">
            <a:avLst/>
          </a:prstGeom>
          <a:solidFill>
            <a:srgbClr val="EFE405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E894D29-1FD2-4C2A-91A2-7A4867208A7F}"/>
              </a:ext>
            </a:extLst>
          </p:cNvPr>
          <p:cNvSpPr/>
          <p:nvPr/>
        </p:nvSpPr>
        <p:spPr>
          <a:xfrm>
            <a:off x="8245818" y="3691858"/>
            <a:ext cx="146635" cy="146635"/>
          </a:xfrm>
          <a:prstGeom prst="ellipse">
            <a:avLst/>
          </a:prstGeom>
          <a:solidFill>
            <a:srgbClr val="EFE405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1BFBEF8-706F-44D2-8C08-88C6EA5FEE4A}"/>
              </a:ext>
            </a:extLst>
          </p:cNvPr>
          <p:cNvSpPr/>
          <p:nvPr/>
        </p:nvSpPr>
        <p:spPr>
          <a:xfrm>
            <a:off x="10543712" y="3691858"/>
            <a:ext cx="146635" cy="146635"/>
          </a:xfrm>
          <a:prstGeom prst="ellipse">
            <a:avLst/>
          </a:prstGeom>
          <a:solidFill>
            <a:srgbClr val="EFE405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0" name="Content Placeholder 14">
            <a:extLst>
              <a:ext uri="{FF2B5EF4-FFF2-40B4-BE49-F238E27FC236}">
                <a16:creationId xmlns:a16="http://schemas.microsoft.com/office/drawing/2014/main" id="{3DEEF219-D97A-4A34-9865-28A0988ECD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9179978"/>
              </p:ext>
            </p:extLst>
          </p:nvPr>
        </p:nvGraphicFramePr>
        <p:xfrm>
          <a:off x="425824" y="1331256"/>
          <a:ext cx="2264035" cy="238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1" name="Content Placeholder 14">
            <a:extLst>
              <a:ext uri="{FF2B5EF4-FFF2-40B4-BE49-F238E27FC236}">
                <a16:creationId xmlns:a16="http://schemas.microsoft.com/office/drawing/2014/main" id="{C5461B02-A9D7-46AB-AD10-7E1B9D1400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3271261"/>
              </p:ext>
            </p:extLst>
          </p:nvPr>
        </p:nvGraphicFramePr>
        <p:xfrm>
          <a:off x="4934324" y="1331256"/>
          <a:ext cx="2264035" cy="238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2" name="Content Placeholder 14">
            <a:extLst>
              <a:ext uri="{FF2B5EF4-FFF2-40B4-BE49-F238E27FC236}">
                <a16:creationId xmlns:a16="http://schemas.microsoft.com/office/drawing/2014/main" id="{05983CC8-2EE8-48F9-B0B8-01436C9F6A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2602524"/>
              </p:ext>
            </p:extLst>
          </p:nvPr>
        </p:nvGraphicFramePr>
        <p:xfrm>
          <a:off x="9442824" y="1331256"/>
          <a:ext cx="2264035" cy="238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Content Placeholder 14">
            <a:extLst>
              <a:ext uri="{FF2B5EF4-FFF2-40B4-BE49-F238E27FC236}">
                <a16:creationId xmlns:a16="http://schemas.microsoft.com/office/drawing/2014/main" id="{59983305-6313-4F22-ABC9-715381F906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0196167"/>
              </p:ext>
            </p:extLst>
          </p:nvPr>
        </p:nvGraphicFramePr>
        <p:xfrm>
          <a:off x="2690052" y="4109650"/>
          <a:ext cx="2264035" cy="238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5" name="Content Placeholder 14">
            <a:extLst>
              <a:ext uri="{FF2B5EF4-FFF2-40B4-BE49-F238E27FC236}">
                <a16:creationId xmlns:a16="http://schemas.microsoft.com/office/drawing/2014/main" id="{62CB0C42-AB3B-4CB8-B896-DCED3C58166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8790340"/>
              </p:ext>
            </p:extLst>
          </p:nvPr>
        </p:nvGraphicFramePr>
        <p:xfrm>
          <a:off x="7217775" y="4109649"/>
          <a:ext cx="2264035" cy="238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5E004B0-EB79-43D3-8D16-1AAB8E6C0B3B}"/>
              </a:ext>
            </a:extLst>
          </p:cNvPr>
          <p:cNvCxnSpPr>
            <a:cxnSpLocks/>
          </p:cNvCxnSpPr>
          <p:nvPr/>
        </p:nvCxnSpPr>
        <p:spPr>
          <a:xfrm>
            <a:off x="3815715" y="3829050"/>
            <a:ext cx="0" cy="361950"/>
          </a:xfrm>
          <a:prstGeom prst="line">
            <a:avLst/>
          </a:prstGeom>
          <a:ln>
            <a:solidFill>
              <a:srgbClr val="EFE405"/>
            </a:solidFill>
            <a:prstDash val="lg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757F6EE-6775-4E95-89FC-767DC5683E72}"/>
              </a:ext>
            </a:extLst>
          </p:cNvPr>
          <p:cNvCxnSpPr>
            <a:cxnSpLocks/>
          </p:cNvCxnSpPr>
          <p:nvPr/>
        </p:nvCxnSpPr>
        <p:spPr>
          <a:xfrm>
            <a:off x="8319135" y="3829050"/>
            <a:ext cx="0" cy="361950"/>
          </a:xfrm>
          <a:prstGeom prst="line">
            <a:avLst/>
          </a:prstGeom>
          <a:ln>
            <a:solidFill>
              <a:srgbClr val="EFE405"/>
            </a:solidFill>
            <a:prstDash val="lg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C77C645-977E-482A-8D26-B46FC0E003D5}"/>
              </a:ext>
            </a:extLst>
          </p:cNvPr>
          <p:cNvCxnSpPr>
            <a:cxnSpLocks/>
          </p:cNvCxnSpPr>
          <p:nvPr/>
        </p:nvCxnSpPr>
        <p:spPr>
          <a:xfrm flipV="1">
            <a:off x="1564005" y="3329908"/>
            <a:ext cx="0" cy="361950"/>
          </a:xfrm>
          <a:prstGeom prst="line">
            <a:avLst/>
          </a:prstGeom>
          <a:ln>
            <a:solidFill>
              <a:srgbClr val="EFE405"/>
            </a:solidFill>
            <a:prstDash val="lg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5A7E180-E0B7-40C6-8565-D71F5A72697B}"/>
              </a:ext>
            </a:extLst>
          </p:cNvPr>
          <p:cNvCxnSpPr>
            <a:cxnSpLocks/>
          </p:cNvCxnSpPr>
          <p:nvPr/>
        </p:nvCxnSpPr>
        <p:spPr>
          <a:xfrm flipV="1">
            <a:off x="6067425" y="3329908"/>
            <a:ext cx="0" cy="361950"/>
          </a:xfrm>
          <a:prstGeom prst="line">
            <a:avLst/>
          </a:prstGeom>
          <a:ln>
            <a:solidFill>
              <a:srgbClr val="EFE405"/>
            </a:solidFill>
            <a:prstDash val="lg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8FFAE10-CFC1-4E3A-B74D-EA13F77869F4}"/>
              </a:ext>
            </a:extLst>
          </p:cNvPr>
          <p:cNvCxnSpPr>
            <a:cxnSpLocks/>
          </p:cNvCxnSpPr>
          <p:nvPr/>
        </p:nvCxnSpPr>
        <p:spPr>
          <a:xfrm flipV="1">
            <a:off x="10617029" y="3329908"/>
            <a:ext cx="0" cy="361950"/>
          </a:xfrm>
          <a:prstGeom prst="line">
            <a:avLst/>
          </a:prstGeom>
          <a:ln>
            <a:solidFill>
              <a:srgbClr val="EFE405"/>
            </a:solidFill>
            <a:prstDash val="lg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20748BA2-14D4-46DD-BEDD-202D613E3335}"/>
              </a:ext>
            </a:extLst>
          </p:cNvPr>
          <p:cNvSpPr/>
          <p:nvPr/>
        </p:nvSpPr>
        <p:spPr>
          <a:xfrm>
            <a:off x="562210" y="4292560"/>
            <a:ext cx="1991269" cy="185130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>
              <a:spcBef>
                <a:spcPts val="600"/>
              </a:spcBef>
              <a:buClr>
                <a:schemeClr val="accent6"/>
              </a:buClr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nim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ad minim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veniam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quis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nostrud</a:t>
            </a: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E56661C-8EAE-4C05-94A2-02D128D94127}"/>
              </a:ext>
            </a:extLst>
          </p:cNvPr>
          <p:cNvSpPr/>
          <p:nvPr/>
        </p:nvSpPr>
        <p:spPr>
          <a:xfrm>
            <a:off x="5061639" y="4292560"/>
            <a:ext cx="1991269" cy="185130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>
              <a:spcBef>
                <a:spcPts val="600"/>
              </a:spcBef>
              <a:buClr>
                <a:schemeClr val="accent6"/>
              </a:buClr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nim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ad minim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veniam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quis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nostrud</a:t>
            </a: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FBE7948-A29F-4CF6-BBE9-D257C6AD4D3B}"/>
              </a:ext>
            </a:extLst>
          </p:cNvPr>
          <p:cNvSpPr/>
          <p:nvPr/>
        </p:nvSpPr>
        <p:spPr>
          <a:xfrm>
            <a:off x="9595539" y="4292560"/>
            <a:ext cx="1991269" cy="185130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>
              <a:spcBef>
                <a:spcPts val="600"/>
              </a:spcBef>
              <a:buClr>
                <a:schemeClr val="accent6"/>
              </a:buClr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nim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ad minim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veniam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quis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nostrud</a:t>
            </a: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698DAD6-F373-4DE7-B073-E6D470A4303B}"/>
              </a:ext>
            </a:extLst>
          </p:cNvPr>
          <p:cNvSpPr/>
          <p:nvPr/>
        </p:nvSpPr>
        <p:spPr>
          <a:xfrm>
            <a:off x="2826439" y="1520331"/>
            <a:ext cx="1991269" cy="185130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 algn="ctr">
              <a:spcBef>
                <a:spcPts val="600"/>
              </a:spcBef>
              <a:buClr>
                <a:schemeClr val="accent6"/>
              </a:buClr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nim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ad minim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veniam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quis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nostrud</a:t>
            </a: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99635B4-329E-43F6-86B4-6582CBA56073}"/>
              </a:ext>
            </a:extLst>
          </p:cNvPr>
          <p:cNvSpPr/>
          <p:nvPr/>
        </p:nvSpPr>
        <p:spPr>
          <a:xfrm>
            <a:off x="7354896" y="1520331"/>
            <a:ext cx="1991269" cy="185130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 algn="ctr">
              <a:spcBef>
                <a:spcPts val="600"/>
              </a:spcBef>
              <a:buClr>
                <a:schemeClr val="accent6"/>
              </a:buClr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nim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ad minim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veniam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quis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nostrud</a:t>
            </a: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42092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872B64B-5AE3-4577-9D93-AC8604D76E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0039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computer sitting on top of a table&#10;&#10;Description automatically generated">
            <a:extLst>
              <a:ext uri="{FF2B5EF4-FFF2-40B4-BE49-F238E27FC236}">
                <a16:creationId xmlns:a16="http://schemas.microsoft.com/office/drawing/2014/main" id="{3BFB08F5-191F-4939-AA40-31DCD73C532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F3A0A0-FD7D-440E-8F89-359F8998ABD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A3E7F9-098E-4CB4-9C7C-C910B078B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14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CB9555-9C68-41BA-85A8-1B9FF8A646EB}"/>
              </a:ext>
            </a:extLst>
          </p:cNvPr>
          <p:cNvSpPr/>
          <p:nvPr/>
        </p:nvSpPr>
        <p:spPr>
          <a:xfrm>
            <a:off x="1341437" y="981487"/>
            <a:ext cx="9326563" cy="4639412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938C85A3-7D3B-4FA1-9C46-9403D47E1FFE}"/>
              </a:ext>
            </a:extLst>
          </p:cNvPr>
          <p:cNvSpPr txBox="1">
            <a:spLocks/>
          </p:cNvSpPr>
          <p:nvPr/>
        </p:nvSpPr>
        <p:spPr>
          <a:xfrm>
            <a:off x="0" y="1801662"/>
            <a:ext cx="12192000" cy="2993216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FC61D2AA-1073-46F5-A427-81DC185AB898}"/>
              </a:ext>
            </a:extLst>
          </p:cNvPr>
          <p:cNvSpPr txBox="1">
            <a:spLocks/>
          </p:cNvSpPr>
          <p:nvPr/>
        </p:nvSpPr>
        <p:spPr>
          <a:xfrm>
            <a:off x="1577058" y="2382784"/>
            <a:ext cx="9037884" cy="1938914"/>
          </a:xfrm>
          <a:prstGeom prst="rect">
            <a:avLst/>
          </a:prstGeom>
          <a:noFill/>
        </p:spPr>
        <p:txBody>
          <a:bodyPr vert="horz" lIns="0" tIns="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9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6C67FA6-5AD5-4737-ACBE-BAB28F5B7C31}"/>
              </a:ext>
            </a:extLst>
          </p:cNvPr>
          <p:cNvGrpSpPr/>
          <p:nvPr/>
        </p:nvGrpSpPr>
        <p:grpSpPr>
          <a:xfrm>
            <a:off x="5477264" y="5404700"/>
            <a:ext cx="1237472" cy="381665"/>
            <a:chOff x="1365741" y="655161"/>
            <a:chExt cx="1440180" cy="444183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A2F29C36-C9FB-4B03-8CCB-B212E9097230}"/>
                </a:ext>
              </a:extLst>
            </p:cNvPr>
            <p:cNvSpPr/>
            <p:nvPr/>
          </p:nvSpPr>
          <p:spPr>
            <a:xfrm>
              <a:off x="1365741" y="655161"/>
              <a:ext cx="1440180" cy="44418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8" name="Picture 25">
              <a:extLst>
                <a:ext uri="{FF2B5EF4-FFF2-40B4-BE49-F238E27FC236}">
                  <a16:creationId xmlns:a16="http://schemas.microsoft.com/office/drawing/2014/main" id="{F81D19F9-6C83-4E55-8FDA-41E7C2DC13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5075" y="697542"/>
              <a:ext cx="1021512" cy="359421"/>
            </a:xfrm>
            <a:prstGeom prst="rect">
              <a:avLst/>
            </a:prstGeom>
            <a:solidFill>
              <a:schemeClr val="bg1"/>
            </a:solidFill>
          </p:spPr>
        </p:pic>
      </p:grpSp>
    </p:spTree>
    <p:extLst>
      <p:ext uri="{BB962C8B-B14F-4D97-AF65-F5344CB8AC3E}">
        <p14:creationId xmlns:p14="http://schemas.microsoft.com/office/powerpoint/2010/main" val="27159964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9294643" y="4842880"/>
            <a:ext cx="3863142" cy="1931571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02C9747-202E-41E0-8BEF-BBF25331BE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58859" y="2420938"/>
            <a:ext cx="4718841" cy="4631777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87930" y="1"/>
            <a:ext cx="3504070" cy="2279346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 rot="16200000">
            <a:off x="-1113197" y="102325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TextBox 72">
            <a:hlinkClick r:id="rId9"/>
            <a:extLst>
              <a:ext uri="{FF2B5EF4-FFF2-40B4-BE49-F238E27FC236}">
                <a16:creationId xmlns:a16="http://schemas.microsoft.com/office/drawing/2014/main" id="{EDE849A8-DF87-49BD-BA54-274015B4D81B}"/>
              </a:ext>
            </a:extLst>
          </p:cNvPr>
          <p:cNvSpPr txBox="1"/>
          <p:nvPr/>
        </p:nvSpPr>
        <p:spPr>
          <a:xfrm>
            <a:off x="1548269" y="4572115"/>
            <a:ext cx="5457716" cy="73574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F6FC6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Y US OUT FOR JUST $1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F6FC6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72" name="Graphic 71">
            <a:extLst>
              <a:ext uri="{FF2B5EF4-FFF2-40B4-BE49-F238E27FC236}">
                <a16:creationId xmlns:a16="http://schemas.microsoft.com/office/drawing/2014/main" id="{66B8B620-ECA5-4287-91FE-C7C3139C409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4790110"/>
            <a:ext cx="2581118" cy="2067890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F52B06BD-3598-4CB9-9F86-C02EF38446D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flipH="1">
            <a:off x="6683091" y="5372100"/>
            <a:ext cx="3351177" cy="1485900"/>
          </a:xfrm>
          <a:prstGeom prst="rect">
            <a:avLst/>
          </a:prstGeom>
        </p:spPr>
      </p:pic>
      <p:sp>
        <p:nvSpPr>
          <p:cNvPr id="75" name="Rectángulo 3">
            <a:extLst>
              <a:ext uri="{FF2B5EF4-FFF2-40B4-BE49-F238E27FC236}">
                <a16:creationId xmlns:a16="http://schemas.microsoft.com/office/drawing/2014/main" id="{E95D9FB0-C971-45CD-960D-2CE08B1FA323}"/>
              </a:ext>
            </a:extLst>
          </p:cNvPr>
          <p:cNvSpPr/>
          <p:nvPr/>
        </p:nvSpPr>
        <p:spPr>
          <a:xfrm>
            <a:off x="407302" y="3641563"/>
            <a:ext cx="6951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ur online platform makes it super easy for you to choose a style, upload your brand guidelines, or indicate your design preferences. </a:t>
            </a:r>
          </a:p>
        </p:txBody>
      </p:sp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07302" y="1232191"/>
            <a:ext cx="8962135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 know you may be thinking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“Can I really just send my presenta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nd they redesign it for me? This sounds too good to be true”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o, we came up with an easy way to let you 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xperience our design servic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.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C6757DB-20ED-47C1-8841-9C1669A40A2F}"/>
              </a:ext>
            </a:extLst>
          </p:cNvPr>
          <p:cNvSpPr txBox="1"/>
          <p:nvPr/>
        </p:nvSpPr>
        <p:spPr>
          <a:xfrm>
            <a:off x="407302" y="2552293"/>
            <a:ext cx="852943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nd us your worst slide, the one that no matter what you do it just looks off, and we’ll transform it for $1. </a:t>
            </a:r>
            <a:endParaRPr kumimoji="0" lang="en-ID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72">
            <a:hlinkClick r:id="rId9"/>
            <a:extLst>
              <a:ext uri="{FF2B5EF4-FFF2-40B4-BE49-F238E27FC236}">
                <a16:creationId xmlns:a16="http://schemas.microsoft.com/office/drawing/2014/main" id="{1BCCA16C-1E62-4B6F-AD93-CA86B8E5BC39}"/>
              </a:ext>
            </a:extLst>
          </p:cNvPr>
          <p:cNvSpPr txBox="1"/>
          <p:nvPr/>
        </p:nvSpPr>
        <p:spPr>
          <a:xfrm>
            <a:off x="2286555" y="5204994"/>
            <a:ext cx="3981145" cy="519351"/>
          </a:xfrm>
          <a:prstGeom prst="roundRect">
            <a:avLst>
              <a:gd name="adj" fmla="val 50000"/>
            </a:avLst>
          </a:prstGeom>
          <a:solidFill>
            <a:srgbClr val="4A72B3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slides.com/onedollar</a:t>
            </a:r>
          </a:p>
        </p:txBody>
      </p:sp>
    </p:spTree>
    <p:extLst>
      <p:ext uri="{BB962C8B-B14F-4D97-AF65-F5344CB8AC3E}">
        <p14:creationId xmlns:p14="http://schemas.microsoft.com/office/powerpoint/2010/main" val="202416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8F38126-25AF-464E-AB13-FE4602C248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900929"/>
            <a:ext cx="6438900" cy="49570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5CCCC2C-F9D7-422A-9F13-8625568B397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3134" y="2440447"/>
            <a:ext cx="4349682" cy="489127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37700" y="1"/>
            <a:ext cx="2654300" cy="1726584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579040"/>
            <a:ext cx="11362808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ELLO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hile we love sharing free PowerPoint templates online, what we REALLY do at 24Slides i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stom presentation desig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for companies and professionals (like you!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ny of our customers say that the best part of working with us is our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-hour turnaround servic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. That means you can receive your new presentation the very next day. </a:t>
            </a:r>
          </a:p>
        </p:txBody>
      </p:sp>
      <p:sp>
        <p:nvSpPr>
          <p:cNvPr id="11" name="Rectángulo 3">
            <a:extLst>
              <a:ext uri="{FF2B5EF4-FFF2-40B4-BE49-F238E27FC236}">
                <a16:creationId xmlns:a16="http://schemas.microsoft.com/office/drawing/2014/main" id="{9A843861-CFBB-4FA6-B40A-1FA349CFC17D}"/>
              </a:ext>
            </a:extLst>
          </p:cNvPr>
          <p:cNvSpPr/>
          <p:nvPr/>
        </p:nvSpPr>
        <p:spPr>
          <a:xfrm>
            <a:off x="3446204" y="2622184"/>
            <a:ext cx="83312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 professional designers, we are always ready to creat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 best look and feel for your: 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8E64120-3653-4CF0-AD4D-D234D110AFF4}"/>
              </a:ext>
            </a:extLst>
          </p:cNvPr>
          <p:cNvSpPr/>
          <p:nvPr/>
        </p:nvSpPr>
        <p:spPr>
          <a:xfrm>
            <a:off x="4450957" y="3248001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762FFBB-4C63-4636-A6B6-983C8CAB042E}"/>
              </a:ext>
            </a:extLst>
          </p:cNvPr>
          <p:cNvSpPr/>
          <p:nvPr/>
        </p:nvSpPr>
        <p:spPr>
          <a:xfrm>
            <a:off x="4450957" y="4301311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ctángulo 3">
            <a:extLst>
              <a:ext uri="{FF2B5EF4-FFF2-40B4-BE49-F238E27FC236}">
                <a16:creationId xmlns:a16="http://schemas.microsoft.com/office/drawing/2014/main" id="{7E5FF4C7-7D02-4B66-886F-64062BCE06F7}"/>
              </a:ext>
            </a:extLst>
          </p:cNvPr>
          <p:cNvSpPr/>
          <p:nvPr/>
        </p:nvSpPr>
        <p:spPr>
          <a:xfrm>
            <a:off x="5144953" y="3248761"/>
            <a:ext cx="2142465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rketing &amp; Sales Presentations</a:t>
            </a:r>
          </a:p>
        </p:txBody>
      </p:sp>
      <p:sp>
        <p:nvSpPr>
          <p:cNvPr id="44" name="Rectángulo 3">
            <a:extLst>
              <a:ext uri="{FF2B5EF4-FFF2-40B4-BE49-F238E27FC236}">
                <a16:creationId xmlns:a16="http://schemas.microsoft.com/office/drawing/2014/main" id="{A44D750B-C9EB-4F4D-A355-A79D22D68673}"/>
              </a:ext>
            </a:extLst>
          </p:cNvPr>
          <p:cNvSpPr/>
          <p:nvPr/>
        </p:nvSpPr>
        <p:spPr>
          <a:xfrm>
            <a:off x="5144953" y="4428171"/>
            <a:ext cx="2142465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itch decks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517FAB6B-BC75-48F2-A08A-B7E7BD8A52D3}"/>
              </a:ext>
            </a:extLst>
          </p:cNvPr>
          <p:cNvSpPr/>
          <p:nvPr/>
        </p:nvSpPr>
        <p:spPr>
          <a:xfrm>
            <a:off x="7502812" y="3248001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01FE9B7-86C0-48A7-91BD-530CFCFE1404}"/>
              </a:ext>
            </a:extLst>
          </p:cNvPr>
          <p:cNvSpPr/>
          <p:nvPr/>
        </p:nvSpPr>
        <p:spPr>
          <a:xfrm>
            <a:off x="7502812" y="4301311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ángulo 3">
            <a:extLst>
              <a:ext uri="{FF2B5EF4-FFF2-40B4-BE49-F238E27FC236}">
                <a16:creationId xmlns:a16="http://schemas.microsoft.com/office/drawing/2014/main" id="{3994F9D6-0E4F-4128-8913-B56A00FD1757}"/>
              </a:ext>
            </a:extLst>
          </p:cNvPr>
          <p:cNvSpPr/>
          <p:nvPr/>
        </p:nvSpPr>
        <p:spPr>
          <a:xfrm>
            <a:off x="8196808" y="3371871"/>
            <a:ext cx="3580596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ining Presentations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158A6D2-136D-4B8F-AFE3-D86F5DC90932}"/>
              </a:ext>
            </a:extLst>
          </p:cNvPr>
          <p:cNvGrpSpPr/>
          <p:nvPr/>
        </p:nvGrpSpPr>
        <p:grpSpPr>
          <a:xfrm>
            <a:off x="4600469" y="3396719"/>
            <a:ext cx="285750" cy="287338"/>
            <a:chOff x="3746500" y="1344613"/>
            <a:chExt cx="285750" cy="287338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50" name="Freeform 497">
              <a:extLst>
                <a:ext uri="{FF2B5EF4-FFF2-40B4-BE49-F238E27FC236}">
                  <a16:creationId xmlns:a16="http://schemas.microsoft.com/office/drawing/2014/main" id="{5D9E124A-189C-47A6-BCC0-E9BF869CF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498">
              <a:extLst>
                <a:ext uri="{FF2B5EF4-FFF2-40B4-BE49-F238E27FC236}">
                  <a16:creationId xmlns:a16="http://schemas.microsoft.com/office/drawing/2014/main" id="{A47E030D-420D-43CA-ADEC-4457216085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499">
              <a:extLst>
                <a:ext uri="{FF2B5EF4-FFF2-40B4-BE49-F238E27FC236}">
                  <a16:creationId xmlns:a16="http://schemas.microsoft.com/office/drawing/2014/main" id="{B411F2F2-5598-477F-9137-E80DD9F9B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500">
              <a:extLst>
                <a:ext uri="{FF2B5EF4-FFF2-40B4-BE49-F238E27FC236}">
                  <a16:creationId xmlns:a16="http://schemas.microsoft.com/office/drawing/2014/main" id="{A58C81C6-1A87-438C-8117-DAFDDDA98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501">
              <a:extLst>
                <a:ext uri="{FF2B5EF4-FFF2-40B4-BE49-F238E27FC236}">
                  <a16:creationId xmlns:a16="http://schemas.microsoft.com/office/drawing/2014/main" id="{4073DC26-3EF0-4358-B2FB-8DEAD26C7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502">
              <a:extLst>
                <a:ext uri="{FF2B5EF4-FFF2-40B4-BE49-F238E27FC236}">
                  <a16:creationId xmlns:a16="http://schemas.microsoft.com/office/drawing/2014/main" id="{6B72D012-A2EA-4C61-8384-CFED0411A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503">
              <a:extLst>
                <a:ext uri="{FF2B5EF4-FFF2-40B4-BE49-F238E27FC236}">
                  <a16:creationId xmlns:a16="http://schemas.microsoft.com/office/drawing/2014/main" id="{647238C1-C646-4A06-88A1-851AE8239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504">
              <a:extLst>
                <a:ext uri="{FF2B5EF4-FFF2-40B4-BE49-F238E27FC236}">
                  <a16:creationId xmlns:a16="http://schemas.microsoft.com/office/drawing/2014/main" id="{B3C58DFD-A611-4BC4-B8F8-DCC1FF5DF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CF213EB-2F87-46FE-92E2-AD6B352C3A42}"/>
              </a:ext>
            </a:extLst>
          </p:cNvPr>
          <p:cNvGrpSpPr/>
          <p:nvPr/>
        </p:nvGrpSpPr>
        <p:grpSpPr>
          <a:xfrm>
            <a:off x="4623488" y="4450823"/>
            <a:ext cx="239712" cy="285750"/>
            <a:chOff x="5494338" y="1370013"/>
            <a:chExt cx="239712" cy="285750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59" name="Freeform 961">
              <a:extLst>
                <a:ext uri="{FF2B5EF4-FFF2-40B4-BE49-F238E27FC236}">
                  <a16:creationId xmlns:a16="http://schemas.microsoft.com/office/drawing/2014/main" id="{25AB7416-6918-4CFC-BD4C-1C0702DE60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370013"/>
              <a:ext cx="104775" cy="133350"/>
            </a:xfrm>
            <a:custGeom>
              <a:avLst/>
              <a:gdLst>
                <a:gd name="T0" fmla="*/ 156 w 265"/>
                <a:gd name="T1" fmla="*/ 108 h 337"/>
                <a:gd name="T2" fmla="*/ 156 w 265"/>
                <a:gd name="T3" fmla="*/ 12 h 337"/>
                <a:gd name="T4" fmla="*/ 252 w 265"/>
                <a:gd name="T5" fmla="*/ 108 h 337"/>
                <a:gd name="T6" fmla="*/ 156 w 265"/>
                <a:gd name="T7" fmla="*/ 108 h 337"/>
                <a:gd name="T8" fmla="*/ 261 w 265"/>
                <a:gd name="T9" fmla="*/ 100 h 337"/>
                <a:gd name="T10" fmla="*/ 165 w 265"/>
                <a:gd name="T11" fmla="*/ 3 h 337"/>
                <a:gd name="T12" fmla="*/ 161 w 265"/>
                <a:gd name="T13" fmla="*/ 1 h 337"/>
                <a:gd name="T14" fmla="*/ 156 w 265"/>
                <a:gd name="T15" fmla="*/ 0 h 337"/>
                <a:gd name="T16" fmla="*/ 12 w 265"/>
                <a:gd name="T17" fmla="*/ 0 h 337"/>
                <a:gd name="T18" fmla="*/ 7 w 265"/>
                <a:gd name="T19" fmla="*/ 1 h 337"/>
                <a:gd name="T20" fmla="*/ 3 w 265"/>
                <a:gd name="T21" fmla="*/ 3 h 337"/>
                <a:gd name="T22" fmla="*/ 1 w 265"/>
                <a:gd name="T23" fmla="*/ 7 h 337"/>
                <a:gd name="T24" fmla="*/ 0 w 265"/>
                <a:gd name="T25" fmla="*/ 12 h 337"/>
                <a:gd name="T26" fmla="*/ 0 w 265"/>
                <a:gd name="T27" fmla="*/ 325 h 337"/>
                <a:gd name="T28" fmla="*/ 1 w 265"/>
                <a:gd name="T29" fmla="*/ 329 h 337"/>
                <a:gd name="T30" fmla="*/ 3 w 265"/>
                <a:gd name="T31" fmla="*/ 334 h 337"/>
                <a:gd name="T32" fmla="*/ 7 w 265"/>
                <a:gd name="T33" fmla="*/ 337 h 337"/>
                <a:gd name="T34" fmla="*/ 12 w 265"/>
                <a:gd name="T35" fmla="*/ 337 h 337"/>
                <a:gd name="T36" fmla="*/ 253 w 265"/>
                <a:gd name="T37" fmla="*/ 337 h 337"/>
                <a:gd name="T38" fmla="*/ 258 w 265"/>
                <a:gd name="T39" fmla="*/ 337 h 337"/>
                <a:gd name="T40" fmla="*/ 261 w 265"/>
                <a:gd name="T41" fmla="*/ 334 h 337"/>
                <a:gd name="T42" fmla="*/ 264 w 265"/>
                <a:gd name="T43" fmla="*/ 329 h 337"/>
                <a:gd name="T44" fmla="*/ 265 w 265"/>
                <a:gd name="T45" fmla="*/ 325 h 337"/>
                <a:gd name="T46" fmla="*/ 265 w 265"/>
                <a:gd name="T47" fmla="*/ 108 h 337"/>
                <a:gd name="T48" fmla="*/ 264 w 265"/>
                <a:gd name="T49" fmla="*/ 104 h 337"/>
                <a:gd name="T50" fmla="*/ 261 w 265"/>
                <a:gd name="T51" fmla="*/ 10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7">
                  <a:moveTo>
                    <a:pt x="156" y="108"/>
                  </a:moveTo>
                  <a:lnTo>
                    <a:pt x="156" y="12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261" y="100"/>
                  </a:moveTo>
                  <a:lnTo>
                    <a:pt x="165" y="3"/>
                  </a:ln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4"/>
                  </a:lnTo>
                  <a:lnTo>
                    <a:pt x="7" y="337"/>
                  </a:lnTo>
                  <a:lnTo>
                    <a:pt x="12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1" y="334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962">
              <a:extLst>
                <a:ext uri="{FF2B5EF4-FFF2-40B4-BE49-F238E27FC236}">
                  <a16:creationId xmlns:a16="http://schemas.microsoft.com/office/drawing/2014/main" id="{A53A1029-D92C-473D-A0A6-DE77495E27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370013"/>
              <a:ext cx="106363" cy="133350"/>
            </a:xfrm>
            <a:custGeom>
              <a:avLst/>
              <a:gdLst>
                <a:gd name="T0" fmla="*/ 157 w 266"/>
                <a:gd name="T1" fmla="*/ 108 h 337"/>
                <a:gd name="T2" fmla="*/ 157 w 266"/>
                <a:gd name="T3" fmla="*/ 12 h 337"/>
                <a:gd name="T4" fmla="*/ 252 w 266"/>
                <a:gd name="T5" fmla="*/ 108 h 337"/>
                <a:gd name="T6" fmla="*/ 157 w 266"/>
                <a:gd name="T7" fmla="*/ 108 h 337"/>
                <a:gd name="T8" fmla="*/ 166 w 266"/>
                <a:gd name="T9" fmla="*/ 3 h 337"/>
                <a:gd name="T10" fmla="*/ 162 w 266"/>
                <a:gd name="T11" fmla="*/ 1 h 337"/>
                <a:gd name="T12" fmla="*/ 157 w 266"/>
                <a:gd name="T13" fmla="*/ 0 h 337"/>
                <a:gd name="T14" fmla="*/ 13 w 266"/>
                <a:gd name="T15" fmla="*/ 0 h 337"/>
                <a:gd name="T16" fmla="*/ 8 w 266"/>
                <a:gd name="T17" fmla="*/ 1 h 337"/>
                <a:gd name="T18" fmla="*/ 5 w 266"/>
                <a:gd name="T19" fmla="*/ 3 h 337"/>
                <a:gd name="T20" fmla="*/ 1 w 266"/>
                <a:gd name="T21" fmla="*/ 7 h 337"/>
                <a:gd name="T22" fmla="*/ 0 w 266"/>
                <a:gd name="T23" fmla="*/ 12 h 337"/>
                <a:gd name="T24" fmla="*/ 0 w 266"/>
                <a:gd name="T25" fmla="*/ 325 h 337"/>
                <a:gd name="T26" fmla="*/ 1 w 266"/>
                <a:gd name="T27" fmla="*/ 329 h 337"/>
                <a:gd name="T28" fmla="*/ 5 w 266"/>
                <a:gd name="T29" fmla="*/ 334 h 337"/>
                <a:gd name="T30" fmla="*/ 8 w 266"/>
                <a:gd name="T31" fmla="*/ 337 h 337"/>
                <a:gd name="T32" fmla="*/ 13 w 266"/>
                <a:gd name="T33" fmla="*/ 337 h 337"/>
                <a:gd name="T34" fmla="*/ 253 w 266"/>
                <a:gd name="T35" fmla="*/ 337 h 337"/>
                <a:gd name="T36" fmla="*/ 258 w 266"/>
                <a:gd name="T37" fmla="*/ 337 h 337"/>
                <a:gd name="T38" fmla="*/ 263 w 266"/>
                <a:gd name="T39" fmla="*/ 334 h 337"/>
                <a:gd name="T40" fmla="*/ 265 w 266"/>
                <a:gd name="T41" fmla="*/ 329 h 337"/>
                <a:gd name="T42" fmla="*/ 266 w 266"/>
                <a:gd name="T43" fmla="*/ 325 h 337"/>
                <a:gd name="T44" fmla="*/ 266 w 266"/>
                <a:gd name="T45" fmla="*/ 108 h 337"/>
                <a:gd name="T46" fmla="*/ 265 w 266"/>
                <a:gd name="T47" fmla="*/ 104 h 337"/>
                <a:gd name="T48" fmla="*/ 263 w 266"/>
                <a:gd name="T49" fmla="*/ 100 h 337"/>
                <a:gd name="T50" fmla="*/ 166 w 266"/>
                <a:gd name="T51" fmla="*/ 3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7">
                  <a:moveTo>
                    <a:pt x="157" y="108"/>
                  </a:moveTo>
                  <a:lnTo>
                    <a:pt x="157" y="12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4"/>
                  </a:lnTo>
                  <a:lnTo>
                    <a:pt x="8" y="337"/>
                  </a:lnTo>
                  <a:lnTo>
                    <a:pt x="13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3" y="334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963">
              <a:extLst>
                <a:ext uri="{FF2B5EF4-FFF2-40B4-BE49-F238E27FC236}">
                  <a16:creationId xmlns:a16="http://schemas.microsoft.com/office/drawing/2014/main" id="{8E5510B4-EAA5-4B2D-9E4D-87C0E69B2A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522413"/>
              <a:ext cx="104775" cy="133350"/>
            </a:xfrm>
            <a:custGeom>
              <a:avLst/>
              <a:gdLst>
                <a:gd name="T0" fmla="*/ 156 w 265"/>
                <a:gd name="T1" fmla="*/ 108 h 336"/>
                <a:gd name="T2" fmla="*/ 156 w 265"/>
                <a:gd name="T3" fmla="*/ 11 h 336"/>
                <a:gd name="T4" fmla="*/ 252 w 265"/>
                <a:gd name="T5" fmla="*/ 108 h 336"/>
                <a:gd name="T6" fmla="*/ 156 w 265"/>
                <a:gd name="T7" fmla="*/ 108 h 336"/>
                <a:gd name="T8" fmla="*/ 165 w 265"/>
                <a:gd name="T9" fmla="*/ 3 h 336"/>
                <a:gd name="T10" fmla="*/ 161 w 265"/>
                <a:gd name="T11" fmla="*/ 1 h 336"/>
                <a:gd name="T12" fmla="*/ 156 w 265"/>
                <a:gd name="T13" fmla="*/ 0 h 336"/>
                <a:gd name="T14" fmla="*/ 12 w 265"/>
                <a:gd name="T15" fmla="*/ 0 h 336"/>
                <a:gd name="T16" fmla="*/ 7 w 265"/>
                <a:gd name="T17" fmla="*/ 1 h 336"/>
                <a:gd name="T18" fmla="*/ 3 w 265"/>
                <a:gd name="T19" fmla="*/ 3 h 336"/>
                <a:gd name="T20" fmla="*/ 1 w 265"/>
                <a:gd name="T21" fmla="*/ 7 h 336"/>
                <a:gd name="T22" fmla="*/ 0 w 265"/>
                <a:gd name="T23" fmla="*/ 11 h 336"/>
                <a:gd name="T24" fmla="*/ 0 w 265"/>
                <a:gd name="T25" fmla="*/ 325 h 336"/>
                <a:gd name="T26" fmla="*/ 1 w 265"/>
                <a:gd name="T27" fmla="*/ 329 h 336"/>
                <a:gd name="T28" fmla="*/ 3 w 265"/>
                <a:gd name="T29" fmla="*/ 333 h 336"/>
                <a:gd name="T30" fmla="*/ 7 w 265"/>
                <a:gd name="T31" fmla="*/ 335 h 336"/>
                <a:gd name="T32" fmla="*/ 12 w 265"/>
                <a:gd name="T33" fmla="*/ 336 h 336"/>
                <a:gd name="T34" fmla="*/ 253 w 265"/>
                <a:gd name="T35" fmla="*/ 336 h 336"/>
                <a:gd name="T36" fmla="*/ 258 w 265"/>
                <a:gd name="T37" fmla="*/ 335 h 336"/>
                <a:gd name="T38" fmla="*/ 261 w 265"/>
                <a:gd name="T39" fmla="*/ 333 h 336"/>
                <a:gd name="T40" fmla="*/ 264 w 265"/>
                <a:gd name="T41" fmla="*/ 329 h 336"/>
                <a:gd name="T42" fmla="*/ 265 w 265"/>
                <a:gd name="T43" fmla="*/ 325 h 336"/>
                <a:gd name="T44" fmla="*/ 265 w 265"/>
                <a:gd name="T45" fmla="*/ 108 h 336"/>
                <a:gd name="T46" fmla="*/ 264 w 265"/>
                <a:gd name="T47" fmla="*/ 104 h 336"/>
                <a:gd name="T48" fmla="*/ 261 w 265"/>
                <a:gd name="T49" fmla="*/ 100 h 336"/>
                <a:gd name="T50" fmla="*/ 165 w 265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6">
                  <a:moveTo>
                    <a:pt x="156" y="108"/>
                  </a:moveTo>
                  <a:lnTo>
                    <a:pt x="156" y="11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165" y="3"/>
                  </a:move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3"/>
                  </a:lnTo>
                  <a:lnTo>
                    <a:pt x="7" y="335"/>
                  </a:lnTo>
                  <a:lnTo>
                    <a:pt x="12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1" y="333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lnTo>
                    <a:pt x="165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964">
              <a:extLst>
                <a:ext uri="{FF2B5EF4-FFF2-40B4-BE49-F238E27FC236}">
                  <a16:creationId xmlns:a16="http://schemas.microsoft.com/office/drawing/2014/main" id="{51A990BD-3456-4FEA-B40E-A6BDCB2EC7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522413"/>
              <a:ext cx="106363" cy="133350"/>
            </a:xfrm>
            <a:custGeom>
              <a:avLst/>
              <a:gdLst>
                <a:gd name="T0" fmla="*/ 157 w 266"/>
                <a:gd name="T1" fmla="*/ 108 h 336"/>
                <a:gd name="T2" fmla="*/ 157 w 266"/>
                <a:gd name="T3" fmla="*/ 11 h 336"/>
                <a:gd name="T4" fmla="*/ 252 w 266"/>
                <a:gd name="T5" fmla="*/ 108 h 336"/>
                <a:gd name="T6" fmla="*/ 157 w 266"/>
                <a:gd name="T7" fmla="*/ 108 h 336"/>
                <a:gd name="T8" fmla="*/ 166 w 266"/>
                <a:gd name="T9" fmla="*/ 3 h 336"/>
                <a:gd name="T10" fmla="*/ 162 w 266"/>
                <a:gd name="T11" fmla="*/ 1 h 336"/>
                <a:gd name="T12" fmla="*/ 157 w 266"/>
                <a:gd name="T13" fmla="*/ 0 h 336"/>
                <a:gd name="T14" fmla="*/ 13 w 266"/>
                <a:gd name="T15" fmla="*/ 0 h 336"/>
                <a:gd name="T16" fmla="*/ 8 w 266"/>
                <a:gd name="T17" fmla="*/ 1 h 336"/>
                <a:gd name="T18" fmla="*/ 5 w 266"/>
                <a:gd name="T19" fmla="*/ 3 h 336"/>
                <a:gd name="T20" fmla="*/ 1 w 266"/>
                <a:gd name="T21" fmla="*/ 7 h 336"/>
                <a:gd name="T22" fmla="*/ 0 w 266"/>
                <a:gd name="T23" fmla="*/ 11 h 336"/>
                <a:gd name="T24" fmla="*/ 0 w 266"/>
                <a:gd name="T25" fmla="*/ 325 h 336"/>
                <a:gd name="T26" fmla="*/ 1 w 266"/>
                <a:gd name="T27" fmla="*/ 329 h 336"/>
                <a:gd name="T28" fmla="*/ 5 w 266"/>
                <a:gd name="T29" fmla="*/ 333 h 336"/>
                <a:gd name="T30" fmla="*/ 8 w 266"/>
                <a:gd name="T31" fmla="*/ 335 h 336"/>
                <a:gd name="T32" fmla="*/ 13 w 266"/>
                <a:gd name="T33" fmla="*/ 336 h 336"/>
                <a:gd name="T34" fmla="*/ 253 w 266"/>
                <a:gd name="T35" fmla="*/ 336 h 336"/>
                <a:gd name="T36" fmla="*/ 258 w 266"/>
                <a:gd name="T37" fmla="*/ 335 h 336"/>
                <a:gd name="T38" fmla="*/ 263 w 266"/>
                <a:gd name="T39" fmla="*/ 333 h 336"/>
                <a:gd name="T40" fmla="*/ 265 w 266"/>
                <a:gd name="T41" fmla="*/ 329 h 336"/>
                <a:gd name="T42" fmla="*/ 266 w 266"/>
                <a:gd name="T43" fmla="*/ 325 h 336"/>
                <a:gd name="T44" fmla="*/ 266 w 266"/>
                <a:gd name="T45" fmla="*/ 108 h 336"/>
                <a:gd name="T46" fmla="*/ 265 w 266"/>
                <a:gd name="T47" fmla="*/ 104 h 336"/>
                <a:gd name="T48" fmla="*/ 263 w 266"/>
                <a:gd name="T49" fmla="*/ 100 h 336"/>
                <a:gd name="T50" fmla="*/ 166 w 266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6">
                  <a:moveTo>
                    <a:pt x="157" y="108"/>
                  </a:moveTo>
                  <a:lnTo>
                    <a:pt x="157" y="11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3"/>
                  </a:lnTo>
                  <a:lnTo>
                    <a:pt x="8" y="335"/>
                  </a:lnTo>
                  <a:lnTo>
                    <a:pt x="13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3" y="333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863A1AB-4643-4272-858D-6F68D283B76B}"/>
              </a:ext>
            </a:extLst>
          </p:cNvPr>
          <p:cNvGrpSpPr/>
          <p:nvPr/>
        </p:nvGrpSpPr>
        <p:grpSpPr>
          <a:xfrm>
            <a:off x="7652324" y="3396719"/>
            <a:ext cx="285750" cy="287338"/>
            <a:chOff x="2025650" y="4786313"/>
            <a:chExt cx="285750" cy="287338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64" name="Freeform 565">
              <a:extLst>
                <a:ext uri="{FF2B5EF4-FFF2-40B4-BE49-F238E27FC236}">
                  <a16:creationId xmlns:a16="http://schemas.microsoft.com/office/drawing/2014/main" id="{7C4A3111-F3A6-4737-B2D2-540217E696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5650" y="4786313"/>
              <a:ext cx="285750" cy="287338"/>
            </a:xfrm>
            <a:custGeom>
              <a:avLst/>
              <a:gdLst>
                <a:gd name="T0" fmla="*/ 812 w 903"/>
                <a:gd name="T1" fmla="*/ 500 h 903"/>
                <a:gd name="T2" fmla="*/ 810 w 903"/>
                <a:gd name="T3" fmla="*/ 505 h 903"/>
                <a:gd name="T4" fmla="*/ 806 w 903"/>
                <a:gd name="T5" fmla="*/ 509 h 903"/>
                <a:gd name="T6" fmla="*/ 800 w 903"/>
                <a:gd name="T7" fmla="*/ 511 h 903"/>
                <a:gd name="T8" fmla="*/ 105 w 903"/>
                <a:gd name="T9" fmla="*/ 511 h 903"/>
                <a:gd name="T10" fmla="*/ 99 w 903"/>
                <a:gd name="T11" fmla="*/ 510 h 903"/>
                <a:gd name="T12" fmla="*/ 95 w 903"/>
                <a:gd name="T13" fmla="*/ 507 h 903"/>
                <a:gd name="T14" fmla="*/ 92 w 903"/>
                <a:gd name="T15" fmla="*/ 502 h 903"/>
                <a:gd name="T16" fmla="*/ 90 w 903"/>
                <a:gd name="T17" fmla="*/ 496 h 903"/>
                <a:gd name="T18" fmla="*/ 90 w 903"/>
                <a:gd name="T19" fmla="*/ 105 h 903"/>
                <a:gd name="T20" fmla="*/ 92 w 903"/>
                <a:gd name="T21" fmla="*/ 100 h 903"/>
                <a:gd name="T22" fmla="*/ 95 w 903"/>
                <a:gd name="T23" fmla="*/ 94 h 903"/>
                <a:gd name="T24" fmla="*/ 99 w 903"/>
                <a:gd name="T25" fmla="*/ 91 h 903"/>
                <a:gd name="T26" fmla="*/ 105 w 903"/>
                <a:gd name="T27" fmla="*/ 90 h 903"/>
                <a:gd name="T28" fmla="*/ 800 w 903"/>
                <a:gd name="T29" fmla="*/ 90 h 903"/>
                <a:gd name="T30" fmla="*/ 806 w 903"/>
                <a:gd name="T31" fmla="*/ 92 h 903"/>
                <a:gd name="T32" fmla="*/ 810 w 903"/>
                <a:gd name="T33" fmla="*/ 96 h 903"/>
                <a:gd name="T34" fmla="*/ 812 w 903"/>
                <a:gd name="T35" fmla="*/ 102 h 903"/>
                <a:gd name="T36" fmla="*/ 813 w 903"/>
                <a:gd name="T37" fmla="*/ 496 h 903"/>
                <a:gd name="T38" fmla="*/ 15 w 903"/>
                <a:gd name="T39" fmla="*/ 0 h 903"/>
                <a:gd name="T40" fmla="*/ 9 w 903"/>
                <a:gd name="T41" fmla="*/ 1 h 903"/>
                <a:gd name="T42" fmla="*/ 5 w 903"/>
                <a:gd name="T43" fmla="*/ 4 h 903"/>
                <a:gd name="T44" fmla="*/ 1 w 903"/>
                <a:gd name="T45" fmla="*/ 8 h 903"/>
                <a:gd name="T46" fmla="*/ 0 w 903"/>
                <a:gd name="T47" fmla="*/ 15 h 903"/>
                <a:gd name="T48" fmla="*/ 0 w 903"/>
                <a:gd name="T49" fmla="*/ 590 h 903"/>
                <a:gd name="T50" fmla="*/ 2 w 903"/>
                <a:gd name="T51" fmla="*/ 595 h 903"/>
                <a:gd name="T52" fmla="*/ 7 w 903"/>
                <a:gd name="T53" fmla="*/ 599 h 903"/>
                <a:gd name="T54" fmla="*/ 12 w 903"/>
                <a:gd name="T55" fmla="*/ 602 h 903"/>
                <a:gd name="T56" fmla="*/ 437 w 903"/>
                <a:gd name="T57" fmla="*/ 602 h 903"/>
                <a:gd name="T58" fmla="*/ 260 w 903"/>
                <a:gd name="T59" fmla="*/ 877 h 903"/>
                <a:gd name="T60" fmla="*/ 257 w 903"/>
                <a:gd name="T61" fmla="*/ 883 h 903"/>
                <a:gd name="T62" fmla="*/ 256 w 903"/>
                <a:gd name="T63" fmla="*/ 888 h 903"/>
                <a:gd name="T64" fmla="*/ 257 w 903"/>
                <a:gd name="T65" fmla="*/ 893 h 903"/>
                <a:gd name="T66" fmla="*/ 260 w 903"/>
                <a:gd name="T67" fmla="*/ 899 h 903"/>
                <a:gd name="T68" fmla="*/ 265 w 903"/>
                <a:gd name="T69" fmla="*/ 902 h 903"/>
                <a:gd name="T70" fmla="*/ 271 w 903"/>
                <a:gd name="T71" fmla="*/ 903 h 903"/>
                <a:gd name="T72" fmla="*/ 277 w 903"/>
                <a:gd name="T73" fmla="*/ 902 h 903"/>
                <a:gd name="T74" fmla="*/ 281 w 903"/>
                <a:gd name="T75" fmla="*/ 899 h 903"/>
                <a:gd name="T76" fmla="*/ 621 w 903"/>
                <a:gd name="T77" fmla="*/ 899 h 903"/>
                <a:gd name="T78" fmla="*/ 627 w 903"/>
                <a:gd name="T79" fmla="*/ 902 h 903"/>
                <a:gd name="T80" fmla="*/ 632 w 903"/>
                <a:gd name="T81" fmla="*/ 903 h 903"/>
                <a:gd name="T82" fmla="*/ 637 w 903"/>
                <a:gd name="T83" fmla="*/ 902 h 903"/>
                <a:gd name="T84" fmla="*/ 643 w 903"/>
                <a:gd name="T85" fmla="*/ 899 h 903"/>
                <a:gd name="T86" fmla="*/ 646 w 903"/>
                <a:gd name="T87" fmla="*/ 893 h 903"/>
                <a:gd name="T88" fmla="*/ 647 w 903"/>
                <a:gd name="T89" fmla="*/ 888 h 903"/>
                <a:gd name="T90" fmla="*/ 646 w 903"/>
                <a:gd name="T91" fmla="*/ 883 h 903"/>
                <a:gd name="T92" fmla="*/ 643 w 903"/>
                <a:gd name="T93" fmla="*/ 877 h 903"/>
                <a:gd name="T94" fmla="*/ 467 w 903"/>
                <a:gd name="T95" fmla="*/ 602 h 903"/>
                <a:gd name="T96" fmla="*/ 892 w 903"/>
                <a:gd name="T97" fmla="*/ 602 h 903"/>
                <a:gd name="T98" fmla="*/ 897 w 903"/>
                <a:gd name="T99" fmla="*/ 599 h 903"/>
                <a:gd name="T100" fmla="*/ 900 w 903"/>
                <a:gd name="T101" fmla="*/ 595 h 903"/>
                <a:gd name="T102" fmla="*/ 902 w 903"/>
                <a:gd name="T103" fmla="*/ 590 h 903"/>
                <a:gd name="T104" fmla="*/ 903 w 903"/>
                <a:gd name="T105" fmla="*/ 15 h 903"/>
                <a:gd name="T106" fmla="*/ 902 w 903"/>
                <a:gd name="T107" fmla="*/ 8 h 903"/>
                <a:gd name="T108" fmla="*/ 899 w 903"/>
                <a:gd name="T109" fmla="*/ 4 h 903"/>
                <a:gd name="T110" fmla="*/ 894 w 903"/>
                <a:gd name="T111" fmla="*/ 1 h 903"/>
                <a:gd name="T112" fmla="*/ 888 w 903"/>
                <a:gd name="T113" fmla="*/ 0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903">
                  <a:moveTo>
                    <a:pt x="813" y="496"/>
                  </a:moveTo>
                  <a:lnTo>
                    <a:pt x="812" y="500"/>
                  </a:lnTo>
                  <a:lnTo>
                    <a:pt x="811" y="502"/>
                  </a:lnTo>
                  <a:lnTo>
                    <a:pt x="810" y="505"/>
                  </a:lnTo>
                  <a:lnTo>
                    <a:pt x="808" y="507"/>
                  </a:lnTo>
                  <a:lnTo>
                    <a:pt x="806" y="509"/>
                  </a:lnTo>
                  <a:lnTo>
                    <a:pt x="804" y="510"/>
                  </a:lnTo>
                  <a:lnTo>
                    <a:pt x="800" y="511"/>
                  </a:lnTo>
                  <a:lnTo>
                    <a:pt x="797" y="511"/>
                  </a:lnTo>
                  <a:lnTo>
                    <a:pt x="105" y="511"/>
                  </a:lnTo>
                  <a:lnTo>
                    <a:pt x="102" y="511"/>
                  </a:lnTo>
                  <a:lnTo>
                    <a:pt x="99" y="510"/>
                  </a:lnTo>
                  <a:lnTo>
                    <a:pt x="97" y="509"/>
                  </a:lnTo>
                  <a:lnTo>
                    <a:pt x="95" y="507"/>
                  </a:lnTo>
                  <a:lnTo>
                    <a:pt x="93" y="505"/>
                  </a:lnTo>
                  <a:lnTo>
                    <a:pt x="92" y="502"/>
                  </a:lnTo>
                  <a:lnTo>
                    <a:pt x="90" y="500"/>
                  </a:lnTo>
                  <a:lnTo>
                    <a:pt x="90" y="496"/>
                  </a:lnTo>
                  <a:lnTo>
                    <a:pt x="90" y="316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3" y="96"/>
                  </a:lnTo>
                  <a:lnTo>
                    <a:pt x="95" y="94"/>
                  </a:lnTo>
                  <a:lnTo>
                    <a:pt x="97" y="92"/>
                  </a:lnTo>
                  <a:lnTo>
                    <a:pt x="99" y="91"/>
                  </a:lnTo>
                  <a:lnTo>
                    <a:pt x="102" y="90"/>
                  </a:lnTo>
                  <a:lnTo>
                    <a:pt x="105" y="90"/>
                  </a:lnTo>
                  <a:lnTo>
                    <a:pt x="798" y="90"/>
                  </a:lnTo>
                  <a:lnTo>
                    <a:pt x="800" y="90"/>
                  </a:lnTo>
                  <a:lnTo>
                    <a:pt x="804" y="91"/>
                  </a:lnTo>
                  <a:lnTo>
                    <a:pt x="806" y="92"/>
                  </a:lnTo>
                  <a:lnTo>
                    <a:pt x="808" y="94"/>
                  </a:lnTo>
                  <a:lnTo>
                    <a:pt x="810" y="96"/>
                  </a:lnTo>
                  <a:lnTo>
                    <a:pt x="811" y="100"/>
                  </a:lnTo>
                  <a:lnTo>
                    <a:pt x="812" y="102"/>
                  </a:lnTo>
                  <a:lnTo>
                    <a:pt x="813" y="105"/>
                  </a:lnTo>
                  <a:lnTo>
                    <a:pt x="813" y="496"/>
                  </a:lnTo>
                  <a:close/>
                  <a:moveTo>
                    <a:pt x="888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7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9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437" y="602"/>
                  </a:lnTo>
                  <a:lnTo>
                    <a:pt x="437" y="701"/>
                  </a:lnTo>
                  <a:lnTo>
                    <a:pt x="260" y="877"/>
                  </a:lnTo>
                  <a:lnTo>
                    <a:pt x="259" y="879"/>
                  </a:lnTo>
                  <a:lnTo>
                    <a:pt x="257" y="883"/>
                  </a:lnTo>
                  <a:lnTo>
                    <a:pt x="256" y="885"/>
                  </a:lnTo>
                  <a:lnTo>
                    <a:pt x="256" y="888"/>
                  </a:lnTo>
                  <a:lnTo>
                    <a:pt x="256" y="891"/>
                  </a:lnTo>
                  <a:lnTo>
                    <a:pt x="257" y="893"/>
                  </a:lnTo>
                  <a:lnTo>
                    <a:pt x="259" y="897"/>
                  </a:lnTo>
                  <a:lnTo>
                    <a:pt x="260" y="899"/>
                  </a:lnTo>
                  <a:lnTo>
                    <a:pt x="263" y="901"/>
                  </a:lnTo>
                  <a:lnTo>
                    <a:pt x="265" y="902"/>
                  </a:lnTo>
                  <a:lnTo>
                    <a:pt x="268" y="903"/>
                  </a:lnTo>
                  <a:lnTo>
                    <a:pt x="271" y="903"/>
                  </a:lnTo>
                  <a:lnTo>
                    <a:pt x="274" y="903"/>
                  </a:lnTo>
                  <a:lnTo>
                    <a:pt x="277" y="902"/>
                  </a:lnTo>
                  <a:lnTo>
                    <a:pt x="279" y="901"/>
                  </a:lnTo>
                  <a:lnTo>
                    <a:pt x="281" y="899"/>
                  </a:lnTo>
                  <a:lnTo>
                    <a:pt x="452" y="728"/>
                  </a:lnTo>
                  <a:lnTo>
                    <a:pt x="621" y="899"/>
                  </a:lnTo>
                  <a:lnTo>
                    <a:pt x="623" y="901"/>
                  </a:lnTo>
                  <a:lnTo>
                    <a:pt x="627" y="902"/>
                  </a:lnTo>
                  <a:lnTo>
                    <a:pt x="629" y="903"/>
                  </a:lnTo>
                  <a:lnTo>
                    <a:pt x="632" y="903"/>
                  </a:lnTo>
                  <a:lnTo>
                    <a:pt x="635" y="903"/>
                  </a:lnTo>
                  <a:lnTo>
                    <a:pt x="637" y="902"/>
                  </a:lnTo>
                  <a:lnTo>
                    <a:pt x="641" y="901"/>
                  </a:lnTo>
                  <a:lnTo>
                    <a:pt x="643" y="899"/>
                  </a:lnTo>
                  <a:lnTo>
                    <a:pt x="645" y="897"/>
                  </a:lnTo>
                  <a:lnTo>
                    <a:pt x="646" y="893"/>
                  </a:lnTo>
                  <a:lnTo>
                    <a:pt x="647" y="891"/>
                  </a:lnTo>
                  <a:lnTo>
                    <a:pt x="647" y="888"/>
                  </a:lnTo>
                  <a:lnTo>
                    <a:pt x="647" y="885"/>
                  </a:lnTo>
                  <a:lnTo>
                    <a:pt x="646" y="883"/>
                  </a:lnTo>
                  <a:lnTo>
                    <a:pt x="645" y="879"/>
                  </a:lnTo>
                  <a:lnTo>
                    <a:pt x="643" y="877"/>
                  </a:lnTo>
                  <a:lnTo>
                    <a:pt x="467" y="701"/>
                  </a:lnTo>
                  <a:lnTo>
                    <a:pt x="467" y="602"/>
                  </a:lnTo>
                  <a:lnTo>
                    <a:pt x="888" y="602"/>
                  </a:lnTo>
                  <a:lnTo>
                    <a:pt x="892" y="602"/>
                  </a:lnTo>
                  <a:lnTo>
                    <a:pt x="894" y="601"/>
                  </a:lnTo>
                  <a:lnTo>
                    <a:pt x="897" y="599"/>
                  </a:lnTo>
                  <a:lnTo>
                    <a:pt x="899" y="597"/>
                  </a:lnTo>
                  <a:lnTo>
                    <a:pt x="900" y="595"/>
                  </a:lnTo>
                  <a:lnTo>
                    <a:pt x="902" y="593"/>
                  </a:lnTo>
                  <a:lnTo>
                    <a:pt x="902" y="590"/>
                  </a:lnTo>
                  <a:lnTo>
                    <a:pt x="903" y="587"/>
                  </a:lnTo>
                  <a:lnTo>
                    <a:pt x="903" y="15"/>
                  </a:lnTo>
                  <a:lnTo>
                    <a:pt x="902" y="12"/>
                  </a:lnTo>
                  <a:lnTo>
                    <a:pt x="902" y="8"/>
                  </a:lnTo>
                  <a:lnTo>
                    <a:pt x="900" y="6"/>
                  </a:lnTo>
                  <a:lnTo>
                    <a:pt x="899" y="4"/>
                  </a:lnTo>
                  <a:lnTo>
                    <a:pt x="897" y="2"/>
                  </a:lnTo>
                  <a:lnTo>
                    <a:pt x="894" y="1"/>
                  </a:lnTo>
                  <a:lnTo>
                    <a:pt x="892" y="0"/>
                  </a:lnTo>
                  <a:lnTo>
                    <a:pt x="8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566">
              <a:extLst>
                <a:ext uri="{FF2B5EF4-FFF2-40B4-BE49-F238E27FC236}">
                  <a16:creationId xmlns:a16="http://schemas.microsoft.com/office/drawing/2014/main" id="{CA3112E0-9E78-47B2-94AC-64F8ECF8D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4225" y="4843463"/>
              <a:ext cx="200025" cy="73025"/>
            </a:xfrm>
            <a:custGeom>
              <a:avLst/>
              <a:gdLst>
                <a:gd name="T0" fmla="*/ 151 w 632"/>
                <a:gd name="T1" fmla="*/ 151 h 226"/>
                <a:gd name="T2" fmla="*/ 157 w 632"/>
                <a:gd name="T3" fmla="*/ 149 h 226"/>
                <a:gd name="T4" fmla="*/ 161 w 632"/>
                <a:gd name="T5" fmla="*/ 146 h 226"/>
                <a:gd name="T6" fmla="*/ 288 w 632"/>
                <a:gd name="T7" fmla="*/ 217 h 226"/>
                <a:gd name="T8" fmla="*/ 292 w 632"/>
                <a:gd name="T9" fmla="*/ 223 h 226"/>
                <a:gd name="T10" fmla="*/ 299 w 632"/>
                <a:gd name="T11" fmla="*/ 226 h 226"/>
                <a:gd name="T12" fmla="*/ 302 w 632"/>
                <a:gd name="T13" fmla="*/ 226 h 226"/>
                <a:gd name="T14" fmla="*/ 307 w 632"/>
                <a:gd name="T15" fmla="*/ 225 h 226"/>
                <a:gd name="T16" fmla="*/ 313 w 632"/>
                <a:gd name="T17" fmla="*/ 222 h 226"/>
                <a:gd name="T18" fmla="*/ 471 w 632"/>
                <a:gd name="T19" fmla="*/ 191 h 226"/>
                <a:gd name="T20" fmla="*/ 477 w 632"/>
                <a:gd name="T21" fmla="*/ 195 h 226"/>
                <a:gd name="T22" fmla="*/ 483 w 632"/>
                <a:gd name="T23" fmla="*/ 196 h 226"/>
                <a:gd name="T24" fmla="*/ 488 w 632"/>
                <a:gd name="T25" fmla="*/ 194 h 226"/>
                <a:gd name="T26" fmla="*/ 494 w 632"/>
                <a:gd name="T27" fmla="*/ 191 h 226"/>
                <a:gd name="T28" fmla="*/ 631 w 632"/>
                <a:gd name="T29" fmla="*/ 23 h 226"/>
                <a:gd name="T30" fmla="*/ 632 w 632"/>
                <a:gd name="T31" fmla="*/ 16 h 226"/>
                <a:gd name="T32" fmla="*/ 632 w 632"/>
                <a:gd name="T33" fmla="*/ 11 h 226"/>
                <a:gd name="T34" fmla="*/ 629 w 632"/>
                <a:gd name="T35" fmla="*/ 5 h 226"/>
                <a:gd name="T36" fmla="*/ 625 w 632"/>
                <a:gd name="T37" fmla="*/ 2 h 226"/>
                <a:gd name="T38" fmla="*/ 619 w 632"/>
                <a:gd name="T39" fmla="*/ 0 h 226"/>
                <a:gd name="T40" fmla="*/ 613 w 632"/>
                <a:gd name="T41" fmla="*/ 1 h 226"/>
                <a:gd name="T42" fmla="*/ 607 w 632"/>
                <a:gd name="T43" fmla="*/ 3 h 226"/>
                <a:gd name="T44" fmla="*/ 481 w 632"/>
                <a:gd name="T45" fmla="*/ 159 h 226"/>
                <a:gd name="T46" fmla="*/ 415 w 632"/>
                <a:gd name="T47" fmla="*/ 93 h 226"/>
                <a:gd name="T48" fmla="*/ 409 w 632"/>
                <a:gd name="T49" fmla="*/ 91 h 226"/>
                <a:gd name="T50" fmla="*/ 404 w 632"/>
                <a:gd name="T51" fmla="*/ 91 h 226"/>
                <a:gd name="T52" fmla="*/ 398 w 632"/>
                <a:gd name="T53" fmla="*/ 93 h 226"/>
                <a:gd name="T54" fmla="*/ 307 w 632"/>
                <a:gd name="T55" fmla="*/ 185 h 226"/>
                <a:gd name="T56" fmla="*/ 247 w 632"/>
                <a:gd name="T57" fmla="*/ 39 h 226"/>
                <a:gd name="T58" fmla="*/ 242 w 632"/>
                <a:gd name="T59" fmla="*/ 34 h 226"/>
                <a:gd name="T60" fmla="*/ 234 w 632"/>
                <a:gd name="T61" fmla="*/ 33 h 226"/>
                <a:gd name="T62" fmla="*/ 227 w 632"/>
                <a:gd name="T63" fmla="*/ 35 h 226"/>
                <a:gd name="T64" fmla="*/ 144 w 632"/>
                <a:gd name="T65" fmla="*/ 121 h 226"/>
                <a:gd name="T66" fmla="*/ 12 w 632"/>
                <a:gd name="T67" fmla="*/ 121 h 226"/>
                <a:gd name="T68" fmla="*/ 7 w 632"/>
                <a:gd name="T69" fmla="*/ 123 h 226"/>
                <a:gd name="T70" fmla="*/ 3 w 632"/>
                <a:gd name="T71" fmla="*/ 128 h 226"/>
                <a:gd name="T72" fmla="*/ 0 w 632"/>
                <a:gd name="T73" fmla="*/ 133 h 226"/>
                <a:gd name="T74" fmla="*/ 0 w 632"/>
                <a:gd name="T75" fmla="*/ 138 h 226"/>
                <a:gd name="T76" fmla="*/ 3 w 632"/>
                <a:gd name="T77" fmla="*/ 144 h 226"/>
                <a:gd name="T78" fmla="*/ 7 w 632"/>
                <a:gd name="T79" fmla="*/ 148 h 226"/>
                <a:gd name="T80" fmla="*/ 12 w 632"/>
                <a:gd name="T81" fmla="*/ 150 h 226"/>
                <a:gd name="T82" fmla="*/ 15 w 632"/>
                <a:gd name="T83" fmla="*/ 15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32" h="226">
                  <a:moveTo>
                    <a:pt x="15" y="151"/>
                  </a:moveTo>
                  <a:lnTo>
                    <a:pt x="151" y="151"/>
                  </a:lnTo>
                  <a:lnTo>
                    <a:pt x="154" y="150"/>
                  </a:lnTo>
                  <a:lnTo>
                    <a:pt x="157" y="149"/>
                  </a:lnTo>
                  <a:lnTo>
                    <a:pt x="159" y="148"/>
                  </a:lnTo>
                  <a:lnTo>
                    <a:pt x="161" y="146"/>
                  </a:lnTo>
                  <a:lnTo>
                    <a:pt x="230" y="75"/>
                  </a:lnTo>
                  <a:lnTo>
                    <a:pt x="288" y="217"/>
                  </a:lnTo>
                  <a:lnTo>
                    <a:pt x="289" y="220"/>
                  </a:lnTo>
                  <a:lnTo>
                    <a:pt x="292" y="223"/>
                  </a:lnTo>
                  <a:lnTo>
                    <a:pt x="294" y="224"/>
                  </a:lnTo>
                  <a:lnTo>
                    <a:pt x="299" y="226"/>
                  </a:lnTo>
                  <a:lnTo>
                    <a:pt x="300" y="226"/>
                  </a:lnTo>
                  <a:lnTo>
                    <a:pt x="302" y="226"/>
                  </a:lnTo>
                  <a:lnTo>
                    <a:pt x="304" y="226"/>
                  </a:lnTo>
                  <a:lnTo>
                    <a:pt x="307" y="225"/>
                  </a:lnTo>
                  <a:lnTo>
                    <a:pt x="309" y="223"/>
                  </a:lnTo>
                  <a:lnTo>
                    <a:pt x="313" y="222"/>
                  </a:lnTo>
                  <a:lnTo>
                    <a:pt x="407" y="127"/>
                  </a:lnTo>
                  <a:lnTo>
                    <a:pt x="471" y="191"/>
                  </a:lnTo>
                  <a:lnTo>
                    <a:pt x="473" y="193"/>
                  </a:lnTo>
                  <a:lnTo>
                    <a:pt x="477" y="195"/>
                  </a:lnTo>
                  <a:lnTo>
                    <a:pt x="480" y="196"/>
                  </a:lnTo>
                  <a:lnTo>
                    <a:pt x="483" y="196"/>
                  </a:lnTo>
                  <a:lnTo>
                    <a:pt x="486" y="195"/>
                  </a:lnTo>
                  <a:lnTo>
                    <a:pt x="488" y="194"/>
                  </a:lnTo>
                  <a:lnTo>
                    <a:pt x="492" y="193"/>
                  </a:lnTo>
                  <a:lnTo>
                    <a:pt x="494" y="191"/>
                  </a:lnTo>
                  <a:lnTo>
                    <a:pt x="629" y="25"/>
                  </a:lnTo>
                  <a:lnTo>
                    <a:pt x="631" y="23"/>
                  </a:lnTo>
                  <a:lnTo>
                    <a:pt x="632" y="19"/>
                  </a:lnTo>
                  <a:lnTo>
                    <a:pt x="632" y="16"/>
                  </a:lnTo>
                  <a:lnTo>
                    <a:pt x="632" y="14"/>
                  </a:lnTo>
                  <a:lnTo>
                    <a:pt x="632" y="11"/>
                  </a:lnTo>
                  <a:lnTo>
                    <a:pt x="631" y="9"/>
                  </a:lnTo>
                  <a:lnTo>
                    <a:pt x="629" y="5"/>
                  </a:lnTo>
                  <a:lnTo>
                    <a:pt x="627" y="3"/>
                  </a:lnTo>
                  <a:lnTo>
                    <a:pt x="625" y="2"/>
                  </a:lnTo>
                  <a:lnTo>
                    <a:pt x="621" y="1"/>
                  </a:lnTo>
                  <a:lnTo>
                    <a:pt x="619" y="0"/>
                  </a:lnTo>
                  <a:lnTo>
                    <a:pt x="616" y="0"/>
                  </a:lnTo>
                  <a:lnTo>
                    <a:pt x="613" y="1"/>
                  </a:lnTo>
                  <a:lnTo>
                    <a:pt x="611" y="2"/>
                  </a:lnTo>
                  <a:lnTo>
                    <a:pt x="607" y="3"/>
                  </a:lnTo>
                  <a:lnTo>
                    <a:pt x="605" y="5"/>
                  </a:lnTo>
                  <a:lnTo>
                    <a:pt x="481" y="159"/>
                  </a:lnTo>
                  <a:lnTo>
                    <a:pt x="418" y="95"/>
                  </a:lnTo>
                  <a:lnTo>
                    <a:pt x="415" y="93"/>
                  </a:lnTo>
                  <a:lnTo>
                    <a:pt x="412" y="91"/>
                  </a:lnTo>
                  <a:lnTo>
                    <a:pt x="409" y="91"/>
                  </a:lnTo>
                  <a:lnTo>
                    <a:pt x="407" y="90"/>
                  </a:lnTo>
                  <a:lnTo>
                    <a:pt x="404" y="91"/>
                  </a:lnTo>
                  <a:lnTo>
                    <a:pt x="400" y="91"/>
                  </a:lnTo>
                  <a:lnTo>
                    <a:pt x="398" y="93"/>
                  </a:lnTo>
                  <a:lnTo>
                    <a:pt x="396" y="95"/>
                  </a:lnTo>
                  <a:lnTo>
                    <a:pt x="307" y="185"/>
                  </a:lnTo>
                  <a:lnTo>
                    <a:pt x="249" y="42"/>
                  </a:lnTo>
                  <a:lnTo>
                    <a:pt x="247" y="39"/>
                  </a:lnTo>
                  <a:lnTo>
                    <a:pt x="244" y="36"/>
                  </a:lnTo>
                  <a:lnTo>
                    <a:pt x="242" y="34"/>
                  </a:lnTo>
                  <a:lnTo>
                    <a:pt x="237" y="33"/>
                  </a:lnTo>
                  <a:lnTo>
                    <a:pt x="234" y="33"/>
                  </a:lnTo>
                  <a:lnTo>
                    <a:pt x="230" y="33"/>
                  </a:lnTo>
                  <a:lnTo>
                    <a:pt x="227" y="35"/>
                  </a:lnTo>
                  <a:lnTo>
                    <a:pt x="224" y="38"/>
                  </a:lnTo>
                  <a:lnTo>
                    <a:pt x="144" y="121"/>
                  </a:lnTo>
                  <a:lnTo>
                    <a:pt x="15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7" y="123"/>
                  </a:lnTo>
                  <a:lnTo>
                    <a:pt x="5" y="126"/>
                  </a:lnTo>
                  <a:lnTo>
                    <a:pt x="3" y="128"/>
                  </a:lnTo>
                  <a:lnTo>
                    <a:pt x="2" y="130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2" y="142"/>
                  </a:lnTo>
                  <a:lnTo>
                    <a:pt x="3" y="144"/>
                  </a:lnTo>
                  <a:lnTo>
                    <a:pt x="5" y="146"/>
                  </a:lnTo>
                  <a:lnTo>
                    <a:pt x="7" y="148"/>
                  </a:lnTo>
                  <a:lnTo>
                    <a:pt x="9" y="150"/>
                  </a:lnTo>
                  <a:lnTo>
                    <a:pt x="12" y="150"/>
                  </a:lnTo>
                  <a:lnTo>
                    <a:pt x="15" y="151"/>
                  </a:lnTo>
                  <a:lnTo>
                    <a:pt x="1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747132C-BD1B-4733-B97A-F661D3373657}"/>
              </a:ext>
            </a:extLst>
          </p:cNvPr>
          <p:cNvGrpSpPr/>
          <p:nvPr/>
        </p:nvGrpSpPr>
        <p:grpSpPr>
          <a:xfrm>
            <a:off x="7651530" y="4454792"/>
            <a:ext cx="287338" cy="277813"/>
            <a:chOff x="4903788" y="788988"/>
            <a:chExt cx="287338" cy="277813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67" name="Freeform 1458">
              <a:extLst>
                <a:ext uri="{FF2B5EF4-FFF2-40B4-BE49-F238E27FC236}">
                  <a16:creationId xmlns:a16="http://schemas.microsoft.com/office/drawing/2014/main" id="{5C252B01-A6B9-4A6D-B0B7-CAF326914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3788" y="788988"/>
              <a:ext cx="287338" cy="200025"/>
            </a:xfrm>
            <a:custGeom>
              <a:avLst/>
              <a:gdLst>
                <a:gd name="T0" fmla="*/ 59 w 904"/>
                <a:gd name="T1" fmla="*/ 0 h 634"/>
                <a:gd name="T2" fmla="*/ 47 w 904"/>
                <a:gd name="T3" fmla="*/ 2 h 634"/>
                <a:gd name="T4" fmla="*/ 36 w 904"/>
                <a:gd name="T5" fmla="*/ 5 h 634"/>
                <a:gd name="T6" fmla="*/ 26 w 904"/>
                <a:gd name="T7" fmla="*/ 11 h 634"/>
                <a:gd name="T8" fmla="*/ 17 w 904"/>
                <a:gd name="T9" fmla="*/ 19 h 634"/>
                <a:gd name="T10" fmla="*/ 9 w 904"/>
                <a:gd name="T11" fmla="*/ 27 h 634"/>
                <a:gd name="T12" fmla="*/ 4 w 904"/>
                <a:gd name="T13" fmla="*/ 37 h 634"/>
                <a:gd name="T14" fmla="*/ 1 w 904"/>
                <a:gd name="T15" fmla="*/ 48 h 634"/>
                <a:gd name="T16" fmla="*/ 0 w 904"/>
                <a:gd name="T17" fmla="*/ 61 h 634"/>
                <a:gd name="T18" fmla="*/ 0 w 904"/>
                <a:gd name="T19" fmla="*/ 579 h 634"/>
                <a:gd name="T20" fmla="*/ 2 w 904"/>
                <a:gd name="T21" fmla="*/ 592 h 634"/>
                <a:gd name="T22" fmla="*/ 6 w 904"/>
                <a:gd name="T23" fmla="*/ 603 h 634"/>
                <a:gd name="T24" fmla="*/ 13 w 904"/>
                <a:gd name="T25" fmla="*/ 613 h 634"/>
                <a:gd name="T26" fmla="*/ 22 w 904"/>
                <a:gd name="T27" fmla="*/ 620 h 634"/>
                <a:gd name="T28" fmla="*/ 30 w 904"/>
                <a:gd name="T29" fmla="*/ 627 h 634"/>
                <a:gd name="T30" fmla="*/ 42 w 904"/>
                <a:gd name="T31" fmla="*/ 631 h 634"/>
                <a:gd name="T32" fmla="*/ 54 w 904"/>
                <a:gd name="T33" fmla="*/ 634 h 634"/>
                <a:gd name="T34" fmla="*/ 391 w 904"/>
                <a:gd name="T35" fmla="*/ 634 h 634"/>
                <a:gd name="T36" fmla="*/ 59 w 904"/>
                <a:gd name="T37" fmla="*/ 574 h 634"/>
                <a:gd name="T38" fmla="*/ 845 w 904"/>
                <a:gd name="T39" fmla="*/ 61 h 634"/>
                <a:gd name="T40" fmla="*/ 723 w 904"/>
                <a:gd name="T41" fmla="*/ 574 h 634"/>
                <a:gd name="T42" fmla="*/ 845 w 904"/>
                <a:gd name="T43" fmla="*/ 634 h 634"/>
                <a:gd name="T44" fmla="*/ 857 w 904"/>
                <a:gd name="T45" fmla="*/ 633 h 634"/>
                <a:gd name="T46" fmla="*/ 868 w 904"/>
                <a:gd name="T47" fmla="*/ 629 h 634"/>
                <a:gd name="T48" fmla="*/ 878 w 904"/>
                <a:gd name="T49" fmla="*/ 624 h 634"/>
                <a:gd name="T50" fmla="*/ 887 w 904"/>
                <a:gd name="T51" fmla="*/ 616 h 634"/>
                <a:gd name="T52" fmla="*/ 894 w 904"/>
                <a:gd name="T53" fmla="*/ 607 h 634"/>
                <a:gd name="T54" fmla="*/ 900 w 904"/>
                <a:gd name="T55" fmla="*/ 597 h 634"/>
                <a:gd name="T56" fmla="*/ 903 w 904"/>
                <a:gd name="T57" fmla="*/ 586 h 634"/>
                <a:gd name="T58" fmla="*/ 904 w 904"/>
                <a:gd name="T59" fmla="*/ 574 h 634"/>
                <a:gd name="T60" fmla="*/ 904 w 904"/>
                <a:gd name="T61" fmla="*/ 55 h 634"/>
                <a:gd name="T62" fmla="*/ 902 w 904"/>
                <a:gd name="T63" fmla="*/ 43 h 634"/>
                <a:gd name="T64" fmla="*/ 898 w 904"/>
                <a:gd name="T65" fmla="*/ 32 h 634"/>
                <a:gd name="T66" fmla="*/ 891 w 904"/>
                <a:gd name="T67" fmla="*/ 22 h 634"/>
                <a:gd name="T68" fmla="*/ 882 w 904"/>
                <a:gd name="T69" fmla="*/ 14 h 634"/>
                <a:gd name="T70" fmla="*/ 873 w 904"/>
                <a:gd name="T71" fmla="*/ 7 h 634"/>
                <a:gd name="T72" fmla="*/ 862 w 904"/>
                <a:gd name="T73" fmla="*/ 3 h 634"/>
                <a:gd name="T74" fmla="*/ 850 w 904"/>
                <a:gd name="T75" fmla="*/ 1 h 634"/>
                <a:gd name="T76" fmla="*/ 845 w 904"/>
                <a:gd name="T77" fmla="*/ 0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04" h="634">
                  <a:moveTo>
                    <a:pt x="845" y="0"/>
                  </a:moveTo>
                  <a:lnTo>
                    <a:pt x="59" y="0"/>
                  </a:lnTo>
                  <a:lnTo>
                    <a:pt x="54" y="1"/>
                  </a:lnTo>
                  <a:lnTo>
                    <a:pt x="47" y="2"/>
                  </a:lnTo>
                  <a:lnTo>
                    <a:pt x="42" y="3"/>
                  </a:lnTo>
                  <a:lnTo>
                    <a:pt x="36" y="5"/>
                  </a:lnTo>
                  <a:lnTo>
                    <a:pt x="30" y="7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9"/>
                  </a:lnTo>
                  <a:lnTo>
                    <a:pt x="13" y="22"/>
                  </a:lnTo>
                  <a:lnTo>
                    <a:pt x="9" y="27"/>
                  </a:lnTo>
                  <a:lnTo>
                    <a:pt x="6" y="32"/>
                  </a:lnTo>
                  <a:lnTo>
                    <a:pt x="4" y="37"/>
                  </a:lnTo>
                  <a:lnTo>
                    <a:pt x="2" y="43"/>
                  </a:lnTo>
                  <a:lnTo>
                    <a:pt x="1" y="48"/>
                  </a:lnTo>
                  <a:lnTo>
                    <a:pt x="0" y="55"/>
                  </a:lnTo>
                  <a:lnTo>
                    <a:pt x="0" y="61"/>
                  </a:lnTo>
                  <a:lnTo>
                    <a:pt x="0" y="574"/>
                  </a:lnTo>
                  <a:lnTo>
                    <a:pt x="0" y="579"/>
                  </a:lnTo>
                  <a:lnTo>
                    <a:pt x="1" y="586"/>
                  </a:lnTo>
                  <a:lnTo>
                    <a:pt x="2" y="592"/>
                  </a:lnTo>
                  <a:lnTo>
                    <a:pt x="4" y="597"/>
                  </a:lnTo>
                  <a:lnTo>
                    <a:pt x="6" y="603"/>
                  </a:lnTo>
                  <a:lnTo>
                    <a:pt x="9" y="607"/>
                  </a:lnTo>
                  <a:lnTo>
                    <a:pt x="13" y="613"/>
                  </a:lnTo>
                  <a:lnTo>
                    <a:pt x="17" y="616"/>
                  </a:lnTo>
                  <a:lnTo>
                    <a:pt x="22" y="620"/>
                  </a:lnTo>
                  <a:lnTo>
                    <a:pt x="26" y="624"/>
                  </a:lnTo>
                  <a:lnTo>
                    <a:pt x="30" y="627"/>
                  </a:lnTo>
                  <a:lnTo>
                    <a:pt x="36" y="629"/>
                  </a:lnTo>
                  <a:lnTo>
                    <a:pt x="42" y="631"/>
                  </a:lnTo>
                  <a:lnTo>
                    <a:pt x="47" y="633"/>
                  </a:lnTo>
                  <a:lnTo>
                    <a:pt x="54" y="634"/>
                  </a:lnTo>
                  <a:lnTo>
                    <a:pt x="59" y="634"/>
                  </a:lnTo>
                  <a:lnTo>
                    <a:pt x="391" y="634"/>
                  </a:lnTo>
                  <a:lnTo>
                    <a:pt x="391" y="574"/>
                  </a:lnTo>
                  <a:lnTo>
                    <a:pt x="59" y="574"/>
                  </a:lnTo>
                  <a:lnTo>
                    <a:pt x="59" y="61"/>
                  </a:lnTo>
                  <a:lnTo>
                    <a:pt x="845" y="61"/>
                  </a:lnTo>
                  <a:lnTo>
                    <a:pt x="845" y="574"/>
                  </a:lnTo>
                  <a:lnTo>
                    <a:pt x="723" y="574"/>
                  </a:lnTo>
                  <a:lnTo>
                    <a:pt x="723" y="634"/>
                  </a:lnTo>
                  <a:lnTo>
                    <a:pt x="845" y="634"/>
                  </a:lnTo>
                  <a:lnTo>
                    <a:pt x="850" y="634"/>
                  </a:lnTo>
                  <a:lnTo>
                    <a:pt x="857" y="633"/>
                  </a:lnTo>
                  <a:lnTo>
                    <a:pt x="862" y="631"/>
                  </a:lnTo>
                  <a:lnTo>
                    <a:pt x="868" y="629"/>
                  </a:lnTo>
                  <a:lnTo>
                    <a:pt x="873" y="627"/>
                  </a:lnTo>
                  <a:lnTo>
                    <a:pt x="878" y="624"/>
                  </a:lnTo>
                  <a:lnTo>
                    <a:pt x="882" y="620"/>
                  </a:lnTo>
                  <a:lnTo>
                    <a:pt x="887" y="616"/>
                  </a:lnTo>
                  <a:lnTo>
                    <a:pt x="891" y="613"/>
                  </a:lnTo>
                  <a:lnTo>
                    <a:pt x="894" y="607"/>
                  </a:lnTo>
                  <a:lnTo>
                    <a:pt x="898" y="603"/>
                  </a:lnTo>
                  <a:lnTo>
                    <a:pt x="900" y="597"/>
                  </a:lnTo>
                  <a:lnTo>
                    <a:pt x="902" y="592"/>
                  </a:lnTo>
                  <a:lnTo>
                    <a:pt x="903" y="586"/>
                  </a:lnTo>
                  <a:lnTo>
                    <a:pt x="904" y="579"/>
                  </a:lnTo>
                  <a:lnTo>
                    <a:pt x="904" y="574"/>
                  </a:lnTo>
                  <a:lnTo>
                    <a:pt x="904" y="61"/>
                  </a:lnTo>
                  <a:lnTo>
                    <a:pt x="904" y="55"/>
                  </a:lnTo>
                  <a:lnTo>
                    <a:pt x="903" y="48"/>
                  </a:lnTo>
                  <a:lnTo>
                    <a:pt x="902" y="43"/>
                  </a:lnTo>
                  <a:lnTo>
                    <a:pt x="900" y="37"/>
                  </a:lnTo>
                  <a:lnTo>
                    <a:pt x="898" y="32"/>
                  </a:lnTo>
                  <a:lnTo>
                    <a:pt x="894" y="27"/>
                  </a:lnTo>
                  <a:lnTo>
                    <a:pt x="891" y="22"/>
                  </a:lnTo>
                  <a:lnTo>
                    <a:pt x="887" y="19"/>
                  </a:lnTo>
                  <a:lnTo>
                    <a:pt x="882" y="14"/>
                  </a:lnTo>
                  <a:lnTo>
                    <a:pt x="878" y="11"/>
                  </a:lnTo>
                  <a:lnTo>
                    <a:pt x="873" y="7"/>
                  </a:lnTo>
                  <a:lnTo>
                    <a:pt x="868" y="5"/>
                  </a:lnTo>
                  <a:lnTo>
                    <a:pt x="862" y="3"/>
                  </a:lnTo>
                  <a:lnTo>
                    <a:pt x="857" y="2"/>
                  </a:lnTo>
                  <a:lnTo>
                    <a:pt x="850" y="1"/>
                  </a:lnTo>
                  <a:lnTo>
                    <a:pt x="845" y="1"/>
                  </a:lnTo>
                  <a:lnTo>
                    <a:pt x="8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1459">
              <a:extLst>
                <a:ext uri="{FF2B5EF4-FFF2-40B4-BE49-F238E27FC236}">
                  <a16:creationId xmlns:a16="http://schemas.microsoft.com/office/drawing/2014/main" id="{FEA63DE6-EF8C-498C-8CEE-AD6541573E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7138" y="931863"/>
              <a:ext cx="87313" cy="134938"/>
            </a:xfrm>
            <a:custGeom>
              <a:avLst/>
              <a:gdLst>
                <a:gd name="T0" fmla="*/ 85 w 271"/>
                <a:gd name="T1" fmla="*/ 276 h 423"/>
                <a:gd name="T2" fmla="*/ 90 w 271"/>
                <a:gd name="T3" fmla="*/ 290 h 423"/>
                <a:gd name="T4" fmla="*/ 81 w 271"/>
                <a:gd name="T5" fmla="*/ 301 h 423"/>
                <a:gd name="T6" fmla="*/ 66 w 271"/>
                <a:gd name="T7" fmla="*/ 299 h 423"/>
                <a:gd name="T8" fmla="*/ 60 w 271"/>
                <a:gd name="T9" fmla="*/ 287 h 423"/>
                <a:gd name="T10" fmla="*/ 66 w 271"/>
                <a:gd name="T11" fmla="*/ 275 h 423"/>
                <a:gd name="T12" fmla="*/ 75 w 271"/>
                <a:gd name="T13" fmla="*/ 181 h 423"/>
                <a:gd name="T14" fmla="*/ 87 w 271"/>
                <a:gd name="T15" fmla="*/ 187 h 423"/>
                <a:gd name="T16" fmla="*/ 89 w 271"/>
                <a:gd name="T17" fmla="*/ 202 h 423"/>
                <a:gd name="T18" fmla="*/ 79 w 271"/>
                <a:gd name="T19" fmla="*/ 210 h 423"/>
                <a:gd name="T20" fmla="*/ 64 w 271"/>
                <a:gd name="T21" fmla="*/ 207 h 423"/>
                <a:gd name="T22" fmla="*/ 60 w 271"/>
                <a:gd name="T23" fmla="*/ 193 h 423"/>
                <a:gd name="T24" fmla="*/ 70 w 271"/>
                <a:gd name="T25" fmla="*/ 183 h 423"/>
                <a:gd name="T26" fmla="*/ 81 w 271"/>
                <a:gd name="T27" fmla="*/ 92 h 423"/>
                <a:gd name="T28" fmla="*/ 90 w 271"/>
                <a:gd name="T29" fmla="*/ 103 h 423"/>
                <a:gd name="T30" fmla="*/ 85 w 271"/>
                <a:gd name="T31" fmla="*/ 116 h 423"/>
                <a:gd name="T32" fmla="*/ 72 w 271"/>
                <a:gd name="T33" fmla="*/ 121 h 423"/>
                <a:gd name="T34" fmla="*/ 61 w 271"/>
                <a:gd name="T35" fmla="*/ 112 h 423"/>
                <a:gd name="T36" fmla="*/ 63 w 271"/>
                <a:gd name="T37" fmla="*/ 98 h 423"/>
                <a:gd name="T38" fmla="*/ 75 w 271"/>
                <a:gd name="T39" fmla="*/ 91 h 423"/>
                <a:gd name="T40" fmla="*/ 144 w 271"/>
                <a:gd name="T41" fmla="*/ 275 h 423"/>
                <a:gd name="T42" fmla="*/ 150 w 271"/>
                <a:gd name="T43" fmla="*/ 287 h 423"/>
                <a:gd name="T44" fmla="*/ 144 w 271"/>
                <a:gd name="T45" fmla="*/ 299 h 423"/>
                <a:gd name="T46" fmla="*/ 129 w 271"/>
                <a:gd name="T47" fmla="*/ 300 h 423"/>
                <a:gd name="T48" fmla="*/ 121 w 271"/>
                <a:gd name="T49" fmla="*/ 290 h 423"/>
                <a:gd name="T50" fmla="*/ 125 w 271"/>
                <a:gd name="T51" fmla="*/ 276 h 423"/>
                <a:gd name="T52" fmla="*/ 135 w 271"/>
                <a:gd name="T53" fmla="*/ 271 h 423"/>
                <a:gd name="T54" fmla="*/ 146 w 271"/>
                <a:gd name="T55" fmla="*/ 185 h 423"/>
                <a:gd name="T56" fmla="*/ 150 w 271"/>
                <a:gd name="T57" fmla="*/ 199 h 423"/>
                <a:gd name="T58" fmla="*/ 142 w 271"/>
                <a:gd name="T59" fmla="*/ 210 h 423"/>
                <a:gd name="T60" fmla="*/ 127 w 271"/>
                <a:gd name="T61" fmla="*/ 208 h 423"/>
                <a:gd name="T62" fmla="*/ 121 w 271"/>
                <a:gd name="T63" fmla="*/ 196 h 423"/>
                <a:gd name="T64" fmla="*/ 127 w 271"/>
                <a:gd name="T65" fmla="*/ 184 h 423"/>
                <a:gd name="T66" fmla="*/ 138 w 271"/>
                <a:gd name="T67" fmla="*/ 91 h 423"/>
                <a:gd name="T68" fmla="*/ 149 w 271"/>
                <a:gd name="T69" fmla="*/ 100 h 423"/>
                <a:gd name="T70" fmla="*/ 148 w 271"/>
                <a:gd name="T71" fmla="*/ 114 h 423"/>
                <a:gd name="T72" fmla="*/ 135 w 271"/>
                <a:gd name="T73" fmla="*/ 121 h 423"/>
                <a:gd name="T74" fmla="*/ 123 w 271"/>
                <a:gd name="T75" fmla="*/ 114 h 423"/>
                <a:gd name="T76" fmla="*/ 122 w 271"/>
                <a:gd name="T77" fmla="*/ 100 h 423"/>
                <a:gd name="T78" fmla="*/ 133 w 271"/>
                <a:gd name="T79" fmla="*/ 91 h 423"/>
                <a:gd name="T80" fmla="*/ 201 w 271"/>
                <a:gd name="T81" fmla="*/ 272 h 423"/>
                <a:gd name="T82" fmla="*/ 210 w 271"/>
                <a:gd name="T83" fmla="*/ 283 h 423"/>
                <a:gd name="T84" fmla="*/ 207 w 271"/>
                <a:gd name="T85" fmla="*/ 298 h 423"/>
                <a:gd name="T86" fmla="*/ 192 w 271"/>
                <a:gd name="T87" fmla="*/ 301 h 423"/>
                <a:gd name="T88" fmla="*/ 181 w 271"/>
                <a:gd name="T89" fmla="*/ 292 h 423"/>
                <a:gd name="T90" fmla="*/ 184 w 271"/>
                <a:gd name="T91" fmla="*/ 278 h 423"/>
                <a:gd name="T92" fmla="*/ 196 w 271"/>
                <a:gd name="T93" fmla="*/ 271 h 423"/>
                <a:gd name="T94" fmla="*/ 205 w 271"/>
                <a:gd name="T95" fmla="*/ 184 h 423"/>
                <a:gd name="T96" fmla="*/ 211 w 271"/>
                <a:gd name="T97" fmla="*/ 196 h 423"/>
                <a:gd name="T98" fmla="*/ 205 w 271"/>
                <a:gd name="T99" fmla="*/ 208 h 423"/>
                <a:gd name="T100" fmla="*/ 190 w 271"/>
                <a:gd name="T101" fmla="*/ 210 h 423"/>
                <a:gd name="T102" fmla="*/ 181 w 271"/>
                <a:gd name="T103" fmla="*/ 199 h 423"/>
                <a:gd name="T104" fmla="*/ 185 w 271"/>
                <a:gd name="T105" fmla="*/ 185 h 423"/>
                <a:gd name="T106" fmla="*/ 196 w 271"/>
                <a:gd name="T107" fmla="*/ 91 h 423"/>
                <a:gd name="T108" fmla="*/ 208 w 271"/>
                <a:gd name="T109" fmla="*/ 98 h 423"/>
                <a:gd name="T110" fmla="*/ 210 w 271"/>
                <a:gd name="T111" fmla="*/ 112 h 423"/>
                <a:gd name="T112" fmla="*/ 199 w 271"/>
                <a:gd name="T113" fmla="*/ 121 h 423"/>
                <a:gd name="T114" fmla="*/ 185 w 271"/>
                <a:gd name="T115" fmla="*/ 116 h 423"/>
                <a:gd name="T116" fmla="*/ 181 w 271"/>
                <a:gd name="T117" fmla="*/ 102 h 423"/>
                <a:gd name="T118" fmla="*/ 190 w 271"/>
                <a:gd name="T119" fmla="*/ 92 h 423"/>
                <a:gd name="T120" fmla="*/ 271 w 271"/>
                <a:gd name="T121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1" h="423">
                  <a:moveTo>
                    <a:pt x="75" y="271"/>
                  </a:moveTo>
                  <a:lnTo>
                    <a:pt x="79" y="271"/>
                  </a:lnTo>
                  <a:lnTo>
                    <a:pt x="81" y="272"/>
                  </a:lnTo>
                  <a:lnTo>
                    <a:pt x="83" y="275"/>
                  </a:lnTo>
                  <a:lnTo>
                    <a:pt x="85" y="276"/>
                  </a:lnTo>
                  <a:lnTo>
                    <a:pt x="87" y="278"/>
                  </a:lnTo>
                  <a:lnTo>
                    <a:pt x="89" y="281"/>
                  </a:lnTo>
                  <a:lnTo>
                    <a:pt x="90" y="283"/>
                  </a:lnTo>
                  <a:lnTo>
                    <a:pt x="91" y="287"/>
                  </a:lnTo>
                  <a:lnTo>
                    <a:pt x="90" y="290"/>
                  </a:lnTo>
                  <a:lnTo>
                    <a:pt x="89" y="292"/>
                  </a:lnTo>
                  <a:lnTo>
                    <a:pt x="87" y="296"/>
                  </a:lnTo>
                  <a:lnTo>
                    <a:pt x="85" y="298"/>
                  </a:lnTo>
                  <a:lnTo>
                    <a:pt x="83" y="299"/>
                  </a:lnTo>
                  <a:lnTo>
                    <a:pt x="81" y="301"/>
                  </a:lnTo>
                  <a:lnTo>
                    <a:pt x="79" y="301"/>
                  </a:lnTo>
                  <a:lnTo>
                    <a:pt x="75" y="302"/>
                  </a:lnTo>
                  <a:lnTo>
                    <a:pt x="72" y="301"/>
                  </a:lnTo>
                  <a:lnTo>
                    <a:pt x="70" y="300"/>
                  </a:lnTo>
                  <a:lnTo>
                    <a:pt x="66" y="299"/>
                  </a:lnTo>
                  <a:lnTo>
                    <a:pt x="64" y="298"/>
                  </a:lnTo>
                  <a:lnTo>
                    <a:pt x="63" y="296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60" y="287"/>
                  </a:lnTo>
                  <a:lnTo>
                    <a:pt x="60" y="283"/>
                  </a:lnTo>
                  <a:lnTo>
                    <a:pt x="61" y="281"/>
                  </a:lnTo>
                  <a:lnTo>
                    <a:pt x="63" y="278"/>
                  </a:lnTo>
                  <a:lnTo>
                    <a:pt x="64" y="276"/>
                  </a:lnTo>
                  <a:lnTo>
                    <a:pt x="66" y="275"/>
                  </a:lnTo>
                  <a:lnTo>
                    <a:pt x="70" y="272"/>
                  </a:lnTo>
                  <a:lnTo>
                    <a:pt x="72" y="272"/>
                  </a:lnTo>
                  <a:lnTo>
                    <a:pt x="75" y="271"/>
                  </a:lnTo>
                  <a:lnTo>
                    <a:pt x="75" y="271"/>
                  </a:lnTo>
                  <a:close/>
                  <a:moveTo>
                    <a:pt x="75" y="181"/>
                  </a:moveTo>
                  <a:lnTo>
                    <a:pt x="79" y="182"/>
                  </a:lnTo>
                  <a:lnTo>
                    <a:pt x="81" y="183"/>
                  </a:lnTo>
                  <a:lnTo>
                    <a:pt x="83" y="184"/>
                  </a:lnTo>
                  <a:lnTo>
                    <a:pt x="85" y="185"/>
                  </a:lnTo>
                  <a:lnTo>
                    <a:pt x="87" y="187"/>
                  </a:lnTo>
                  <a:lnTo>
                    <a:pt x="89" y="191"/>
                  </a:lnTo>
                  <a:lnTo>
                    <a:pt x="90" y="193"/>
                  </a:lnTo>
                  <a:lnTo>
                    <a:pt x="91" y="196"/>
                  </a:lnTo>
                  <a:lnTo>
                    <a:pt x="90" y="199"/>
                  </a:lnTo>
                  <a:lnTo>
                    <a:pt x="89" y="202"/>
                  </a:lnTo>
                  <a:lnTo>
                    <a:pt x="87" y="205"/>
                  </a:lnTo>
                  <a:lnTo>
                    <a:pt x="85" y="207"/>
                  </a:lnTo>
                  <a:lnTo>
                    <a:pt x="83" y="208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75" y="212"/>
                  </a:lnTo>
                  <a:lnTo>
                    <a:pt x="72" y="210"/>
                  </a:lnTo>
                  <a:lnTo>
                    <a:pt x="70" y="210"/>
                  </a:lnTo>
                  <a:lnTo>
                    <a:pt x="66" y="208"/>
                  </a:lnTo>
                  <a:lnTo>
                    <a:pt x="64" y="207"/>
                  </a:lnTo>
                  <a:lnTo>
                    <a:pt x="63" y="205"/>
                  </a:lnTo>
                  <a:lnTo>
                    <a:pt x="61" y="202"/>
                  </a:lnTo>
                  <a:lnTo>
                    <a:pt x="60" y="199"/>
                  </a:lnTo>
                  <a:lnTo>
                    <a:pt x="60" y="196"/>
                  </a:lnTo>
                  <a:lnTo>
                    <a:pt x="60" y="193"/>
                  </a:lnTo>
                  <a:lnTo>
                    <a:pt x="61" y="191"/>
                  </a:lnTo>
                  <a:lnTo>
                    <a:pt x="63" y="187"/>
                  </a:lnTo>
                  <a:lnTo>
                    <a:pt x="64" y="185"/>
                  </a:lnTo>
                  <a:lnTo>
                    <a:pt x="66" y="184"/>
                  </a:lnTo>
                  <a:lnTo>
                    <a:pt x="70" y="183"/>
                  </a:lnTo>
                  <a:lnTo>
                    <a:pt x="72" y="182"/>
                  </a:lnTo>
                  <a:lnTo>
                    <a:pt x="75" y="181"/>
                  </a:lnTo>
                  <a:close/>
                  <a:moveTo>
                    <a:pt x="75" y="91"/>
                  </a:moveTo>
                  <a:lnTo>
                    <a:pt x="79" y="91"/>
                  </a:lnTo>
                  <a:lnTo>
                    <a:pt x="81" y="92"/>
                  </a:lnTo>
                  <a:lnTo>
                    <a:pt x="83" y="93"/>
                  </a:lnTo>
                  <a:lnTo>
                    <a:pt x="85" y="95"/>
                  </a:lnTo>
                  <a:lnTo>
                    <a:pt x="87" y="98"/>
                  </a:lnTo>
                  <a:lnTo>
                    <a:pt x="89" y="100"/>
                  </a:lnTo>
                  <a:lnTo>
                    <a:pt x="90" y="103"/>
                  </a:lnTo>
                  <a:lnTo>
                    <a:pt x="91" y="105"/>
                  </a:lnTo>
                  <a:lnTo>
                    <a:pt x="90" y="109"/>
                  </a:lnTo>
                  <a:lnTo>
                    <a:pt x="89" y="112"/>
                  </a:lnTo>
                  <a:lnTo>
                    <a:pt x="87" y="114"/>
                  </a:lnTo>
                  <a:lnTo>
                    <a:pt x="85" y="116"/>
                  </a:lnTo>
                  <a:lnTo>
                    <a:pt x="83" y="119"/>
                  </a:lnTo>
                  <a:lnTo>
                    <a:pt x="81" y="120"/>
                  </a:lnTo>
                  <a:lnTo>
                    <a:pt x="79" y="121"/>
                  </a:lnTo>
                  <a:lnTo>
                    <a:pt x="75" y="121"/>
                  </a:lnTo>
                  <a:lnTo>
                    <a:pt x="72" y="121"/>
                  </a:lnTo>
                  <a:lnTo>
                    <a:pt x="70" y="120"/>
                  </a:lnTo>
                  <a:lnTo>
                    <a:pt x="66" y="119"/>
                  </a:lnTo>
                  <a:lnTo>
                    <a:pt x="64" y="116"/>
                  </a:lnTo>
                  <a:lnTo>
                    <a:pt x="63" y="114"/>
                  </a:lnTo>
                  <a:lnTo>
                    <a:pt x="61" y="112"/>
                  </a:lnTo>
                  <a:lnTo>
                    <a:pt x="60" y="109"/>
                  </a:lnTo>
                  <a:lnTo>
                    <a:pt x="60" y="105"/>
                  </a:lnTo>
                  <a:lnTo>
                    <a:pt x="60" y="102"/>
                  </a:lnTo>
                  <a:lnTo>
                    <a:pt x="61" y="100"/>
                  </a:lnTo>
                  <a:lnTo>
                    <a:pt x="63" y="98"/>
                  </a:lnTo>
                  <a:lnTo>
                    <a:pt x="64" y="95"/>
                  </a:lnTo>
                  <a:lnTo>
                    <a:pt x="66" y="93"/>
                  </a:lnTo>
                  <a:lnTo>
                    <a:pt x="70" y="92"/>
                  </a:lnTo>
                  <a:lnTo>
                    <a:pt x="72" y="91"/>
                  </a:lnTo>
                  <a:lnTo>
                    <a:pt x="75" y="91"/>
                  </a:lnTo>
                  <a:lnTo>
                    <a:pt x="75" y="91"/>
                  </a:lnTo>
                  <a:close/>
                  <a:moveTo>
                    <a:pt x="135" y="271"/>
                  </a:moveTo>
                  <a:lnTo>
                    <a:pt x="138" y="271"/>
                  </a:lnTo>
                  <a:lnTo>
                    <a:pt x="142" y="272"/>
                  </a:lnTo>
                  <a:lnTo>
                    <a:pt x="144" y="275"/>
                  </a:lnTo>
                  <a:lnTo>
                    <a:pt x="146" y="276"/>
                  </a:lnTo>
                  <a:lnTo>
                    <a:pt x="148" y="278"/>
                  </a:lnTo>
                  <a:lnTo>
                    <a:pt x="149" y="281"/>
                  </a:lnTo>
                  <a:lnTo>
                    <a:pt x="150" y="283"/>
                  </a:lnTo>
                  <a:lnTo>
                    <a:pt x="150" y="287"/>
                  </a:lnTo>
                  <a:lnTo>
                    <a:pt x="150" y="290"/>
                  </a:lnTo>
                  <a:lnTo>
                    <a:pt x="149" y="292"/>
                  </a:lnTo>
                  <a:lnTo>
                    <a:pt x="148" y="296"/>
                  </a:lnTo>
                  <a:lnTo>
                    <a:pt x="146" y="298"/>
                  </a:lnTo>
                  <a:lnTo>
                    <a:pt x="144" y="299"/>
                  </a:lnTo>
                  <a:lnTo>
                    <a:pt x="142" y="301"/>
                  </a:lnTo>
                  <a:lnTo>
                    <a:pt x="138" y="301"/>
                  </a:lnTo>
                  <a:lnTo>
                    <a:pt x="135" y="302"/>
                  </a:lnTo>
                  <a:lnTo>
                    <a:pt x="133" y="301"/>
                  </a:lnTo>
                  <a:lnTo>
                    <a:pt x="129" y="300"/>
                  </a:lnTo>
                  <a:lnTo>
                    <a:pt x="127" y="299"/>
                  </a:lnTo>
                  <a:lnTo>
                    <a:pt x="125" y="298"/>
                  </a:lnTo>
                  <a:lnTo>
                    <a:pt x="123" y="296"/>
                  </a:lnTo>
                  <a:lnTo>
                    <a:pt x="122" y="292"/>
                  </a:lnTo>
                  <a:lnTo>
                    <a:pt x="121" y="290"/>
                  </a:lnTo>
                  <a:lnTo>
                    <a:pt x="121" y="287"/>
                  </a:lnTo>
                  <a:lnTo>
                    <a:pt x="121" y="283"/>
                  </a:lnTo>
                  <a:lnTo>
                    <a:pt x="122" y="281"/>
                  </a:lnTo>
                  <a:lnTo>
                    <a:pt x="123" y="278"/>
                  </a:lnTo>
                  <a:lnTo>
                    <a:pt x="125" y="276"/>
                  </a:lnTo>
                  <a:lnTo>
                    <a:pt x="127" y="275"/>
                  </a:lnTo>
                  <a:lnTo>
                    <a:pt x="129" y="272"/>
                  </a:lnTo>
                  <a:lnTo>
                    <a:pt x="133" y="272"/>
                  </a:lnTo>
                  <a:lnTo>
                    <a:pt x="135" y="271"/>
                  </a:lnTo>
                  <a:lnTo>
                    <a:pt x="135" y="271"/>
                  </a:lnTo>
                  <a:close/>
                  <a:moveTo>
                    <a:pt x="135" y="181"/>
                  </a:moveTo>
                  <a:lnTo>
                    <a:pt x="138" y="182"/>
                  </a:lnTo>
                  <a:lnTo>
                    <a:pt x="142" y="183"/>
                  </a:lnTo>
                  <a:lnTo>
                    <a:pt x="144" y="184"/>
                  </a:lnTo>
                  <a:lnTo>
                    <a:pt x="146" y="185"/>
                  </a:lnTo>
                  <a:lnTo>
                    <a:pt x="148" y="187"/>
                  </a:lnTo>
                  <a:lnTo>
                    <a:pt x="149" y="191"/>
                  </a:lnTo>
                  <a:lnTo>
                    <a:pt x="150" y="193"/>
                  </a:lnTo>
                  <a:lnTo>
                    <a:pt x="150" y="196"/>
                  </a:lnTo>
                  <a:lnTo>
                    <a:pt x="150" y="199"/>
                  </a:lnTo>
                  <a:lnTo>
                    <a:pt x="149" y="202"/>
                  </a:lnTo>
                  <a:lnTo>
                    <a:pt x="148" y="205"/>
                  </a:lnTo>
                  <a:lnTo>
                    <a:pt x="146" y="207"/>
                  </a:lnTo>
                  <a:lnTo>
                    <a:pt x="144" y="208"/>
                  </a:lnTo>
                  <a:lnTo>
                    <a:pt x="142" y="210"/>
                  </a:lnTo>
                  <a:lnTo>
                    <a:pt x="138" y="210"/>
                  </a:lnTo>
                  <a:lnTo>
                    <a:pt x="135" y="212"/>
                  </a:lnTo>
                  <a:lnTo>
                    <a:pt x="133" y="210"/>
                  </a:lnTo>
                  <a:lnTo>
                    <a:pt x="129" y="210"/>
                  </a:lnTo>
                  <a:lnTo>
                    <a:pt x="127" y="208"/>
                  </a:lnTo>
                  <a:lnTo>
                    <a:pt x="125" y="207"/>
                  </a:lnTo>
                  <a:lnTo>
                    <a:pt x="123" y="205"/>
                  </a:lnTo>
                  <a:lnTo>
                    <a:pt x="122" y="202"/>
                  </a:lnTo>
                  <a:lnTo>
                    <a:pt x="121" y="199"/>
                  </a:lnTo>
                  <a:lnTo>
                    <a:pt x="121" y="196"/>
                  </a:lnTo>
                  <a:lnTo>
                    <a:pt x="121" y="193"/>
                  </a:lnTo>
                  <a:lnTo>
                    <a:pt x="122" y="191"/>
                  </a:lnTo>
                  <a:lnTo>
                    <a:pt x="123" y="187"/>
                  </a:lnTo>
                  <a:lnTo>
                    <a:pt x="125" y="185"/>
                  </a:lnTo>
                  <a:lnTo>
                    <a:pt x="127" y="184"/>
                  </a:lnTo>
                  <a:lnTo>
                    <a:pt x="129" y="183"/>
                  </a:lnTo>
                  <a:lnTo>
                    <a:pt x="133" y="182"/>
                  </a:lnTo>
                  <a:lnTo>
                    <a:pt x="135" y="181"/>
                  </a:lnTo>
                  <a:close/>
                  <a:moveTo>
                    <a:pt x="135" y="91"/>
                  </a:moveTo>
                  <a:lnTo>
                    <a:pt x="138" y="91"/>
                  </a:lnTo>
                  <a:lnTo>
                    <a:pt x="142" y="92"/>
                  </a:lnTo>
                  <a:lnTo>
                    <a:pt x="144" y="93"/>
                  </a:lnTo>
                  <a:lnTo>
                    <a:pt x="146" y="95"/>
                  </a:lnTo>
                  <a:lnTo>
                    <a:pt x="148" y="98"/>
                  </a:lnTo>
                  <a:lnTo>
                    <a:pt x="149" y="100"/>
                  </a:lnTo>
                  <a:lnTo>
                    <a:pt x="150" y="103"/>
                  </a:lnTo>
                  <a:lnTo>
                    <a:pt x="150" y="105"/>
                  </a:lnTo>
                  <a:lnTo>
                    <a:pt x="150" y="109"/>
                  </a:lnTo>
                  <a:lnTo>
                    <a:pt x="149" y="112"/>
                  </a:lnTo>
                  <a:lnTo>
                    <a:pt x="148" y="114"/>
                  </a:lnTo>
                  <a:lnTo>
                    <a:pt x="146" y="116"/>
                  </a:lnTo>
                  <a:lnTo>
                    <a:pt x="144" y="119"/>
                  </a:lnTo>
                  <a:lnTo>
                    <a:pt x="142" y="120"/>
                  </a:lnTo>
                  <a:lnTo>
                    <a:pt x="138" y="121"/>
                  </a:lnTo>
                  <a:lnTo>
                    <a:pt x="135" y="121"/>
                  </a:lnTo>
                  <a:lnTo>
                    <a:pt x="133" y="121"/>
                  </a:lnTo>
                  <a:lnTo>
                    <a:pt x="129" y="120"/>
                  </a:lnTo>
                  <a:lnTo>
                    <a:pt x="127" y="119"/>
                  </a:lnTo>
                  <a:lnTo>
                    <a:pt x="125" y="116"/>
                  </a:lnTo>
                  <a:lnTo>
                    <a:pt x="123" y="114"/>
                  </a:lnTo>
                  <a:lnTo>
                    <a:pt x="122" y="112"/>
                  </a:lnTo>
                  <a:lnTo>
                    <a:pt x="121" y="109"/>
                  </a:lnTo>
                  <a:lnTo>
                    <a:pt x="121" y="105"/>
                  </a:lnTo>
                  <a:lnTo>
                    <a:pt x="121" y="102"/>
                  </a:lnTo>
                  <a:lnTo>
                    <a:pt x="122" y="100"/>
                  </a:lnTo>
                  <a:lnTo>
                    <a:pt x="123" y="98"/>
                  </a:lnTo>
                  <a:lnTo>
                    <a:pt x="125" y="95"/>
                  </a:lnTo>
                  <a:lnTo>
                    <a:pt x="127" y="93"/>
                  </a:lnTo>
                  <a:lnTo>
                    <a:pt x="129" y="92"/>
                  </a:lnTo>
                  <a:lnTo>
                    <a:pt x="133" y="91"/>
                  </a:lnTo>
                  <a:lnTo>
                    <a:pt x="135" y="91"/>
                  </a:lnTo>
                  <a:lnTo>
                    <a:pt x="135" y="91"/>
                  </a:lnTo>
                  <a:close/>
                  <a:moveTo>
                    <a:pt x="196" y="271"/>
                  </a:moveTo>
                  <a:lnTo>
                    <a:pt x="199" y="271"/>
                  </a:lnTo>
                  <a:lnTo>
                    <a:pt x="201" y="272"/>
                  </a:lnTo>
                  <a:lnTo>
                    <a:pt x="205" y="275"/>
                  </a:lnTo>
                  <a:lnTo>
                    <a:pt x="207" y="276"/>
                  </a:lnTo>
                  <a:lnTo>
                    <a:pt x="208" y="278"/>
                  </a:lnTo>
                  <a:lnTo>
                    <a:pt x="210" y="281"/>
                  </a:lnTo>
                  <a:lnTo>
                    <a:pt x="210" y="283"/>
                  </a:lnTo>
                  <a:lnTo>
                    <a:pt x="211" y="287"/>
                  </a:lnTo>
                  <a:lnTo>
                    <a:pt x="210" y="290"/>
                  </a:lnTo>
                  <a:lnTo>
                    <a:pt x="210" y="292"/>
                  </a:lnTo>
                  <a:lnTo>
                    <a:pt x="208" y="296"/>
                  </a:lnTo>
                  <a:lnTo>
                    <a:pt x="207" y="298"/>
                  </a:lnTo>
                  <a:lnTo>
                    <a:pt x="205" y="299"/>
                  </a:lnTo>
                  <a:lnTo>
                    <a:pt x="201" y="301"/>
                  </a:lnTo>
                  <a:lnTo>
                    <a:pt x="199" y="301"/>
                  </a:lnTo>
                  <a:lnTo>
                    <a:pt x="196" y="302"/>
                  </a:lnTo>
                  <a:lnTo>
                    <a:pt x="192" y="301"/>
                  </a:lnTo>
                  <a:lnTo>
                    <a:pt x="190" y="300"/>
                  </a:lnTo>
                  <a:lnTo>
                    <a:pt x="187" y="299"/>
                  </a:lnTo>
                  <a:lnTo>
                    <a:pt x="185" y="298"/>
                  </a:lnTo>
                  <a:lnTo>
                    <a:pt x="184" y="296"/>
                  </a:lnTo>
                  <a:lnTo>
                    <a:pt x="181" y="292"/>
                  </a:lnTo>
                  <a:lnTo>
                    <a:pt x="181" y="290"/>
                  </a:lnTo>
                  <a:lnTo>
                    <a:pt x="180" y="287"/>
                  </a:lnTo>
                  <a:lnTo>
                    <a:pt x="181" y="283"/>
                  </a:lnTo>
                  <a:lnTo>
                    <a:pt x="181" y="281"/>
                  </a:lnTo>
                  <a:lnTo>
                    <a:pt x="184" y="278"/>
                  </a:lnTo>
                  <a:lnTo>
                    <a:pt x="185" y="276"/>
                  </a:lnTo>
                  <a:lnTo>
                    <a:pt x="187" y="275"/>
                  </a:lnTo>
                  <a:lnTo>
                    <a:pt x="190" y="272"/>
                  </a:lnTo>
                  <a:lnTo>
                    <a:pt x="192" y="272"/>
                  </a:lnTo>
                  <a:lnTo>
                    <a:pt x="196" y="271"/>
                  </a:lnTo>
                  <a:lnTo>
                    <a:pt x="196" y="271"/>
                  </a:lnTo>
                  <a:close/>
                  <a:moveTo>
                    <a:pt x="196" y="181"/>
                  </a:moveTo>
                  <a:lnTo>
                    <a:pt x="199" y="182"/>
                  </a:lnTo>
                  <a:lnTo>
                    <a:pt x="201" y="183"/>
                  </a:lnTo>
                  <a:lnTo>
                    <a:pt x="205" y="184"/>
                  </a:lnTo>
                  <a:lnTo>
                    <a:pt x="207" y="185"/>
                  </a:lnTo>
                  <a:lnTo>
                    <a:pt x="208" y="187"/>
                  </a:lnTo>
                  <a:lnTo>
                    <a:pt x="210" y="191"/>
                  </a:lnTo>
                  <a:lnTo>
                    <a:pt x="210" y="193"/>
                  </a:lnTo>
                  <a:lnTo>
                    <a:pt x="211" y="196"/>
                  </a:lnTo>
                  <a:lnTo>
                    <a:pt x="210" y="199"/>
                  </a:lnTo>
                  <a:lnTo>
                    <a:pt x="210" y="202"/>
                  </a:lnTo>
                  <a:lnTo>
                    <a:pt x="208" y="205"/>
                  </a:lnTo>
                  <a:lnTo>
                    <a:pt x="207" y="207"/>
                  </a:lnTo>
                  <a:lnTo>
                    <a:pt x="205" y="208"/>
                  </a:lnTo>
                  <a:lnTo>
                    <a:pt x="201" y="210"/>
                  </a:lnTo>
                  <a:lnTo>
                    <a:pt x="199" y="210"/>
                  </a:lnTo>
                  <a:lnTo>
                    <a:pt x="196" y="212"/>
                  </a:lnTo>
                  <a:lnTo>
                    <a:pt x="192" y="210"/>
                  </a:lnTo>
                  <a:lnTo>
                    <a:pt x="190" y="210"/>
                  </a:lnTo>
                  <a:lnTo>
                    <a:pt x="187" y="208"/>
                  </a:lnTo>
                  <a:lnTo>
                    <a:pt x="185" y="207"/>
                  </a:lnTo>
                  <a:lnTo>
                    <a:pt x="184" y="205"/>
                  </a:lnTo>
                  <a:lnTo>
                    <a:pt x="181" y="202"/>
                  </a:lnTo>
                  <a:lnTo>
                    <a:pt x="181" y="199"/>
                  </a:lnTo>
                  <a:lnTo>
                    <a:pt x="180" y="196"/>
                  </a:lnTo>
                  <a:lnTo>
                    <a:pt x="181" y="193"/>
                  </a:lnTo>
                  <a:lnTo>
                    <a:pt x="181" y="191"/>
                  </a:lnTo>
                  <a:lnTo>
                    <a:pt x="184" y="187"/>
                  </a:lnTo>
                  <a:lnTo>
                    <a:pt x="185" y="185"/>
                  </a:lnTo>
                  <a:lnTo>
                    <a:pt x="187" y="184"/>
                  </a:lnTo>
                  <a:lnTo>
                    <a:pt x="190" y="183"/>
                  </a:lnTo>
                  <a:lnTo>
                    <a:pt x="192" y="182"/>
                  </a:lnTo>
                  <a:lnTo>
                    <a:pt x="196" y="181"/>
                  </a:lnTo>
                  <a:close/>
                  <a:moveTo>
                    <a:pt x="196" y="91"/>
                  </a:moveTo>
                  <a:lnTo>
                    <a:pt x="199" y="91"/>
                  </a:lnTo>
                  <a:lnTo>
                    <a:pt x="201" y="92"/>
                  </a:lnTo>
                  <a:lnTo>
                    <a:pt x="205" y="93"/>
                  </a:lnTo>
                  <a:lnTo>
                    <a:pt x="207" y="95"/>
                  </a:lnTo>
                  <a:lnTo>
                    <a:pt x="208" y="98"/>
                  </a:lnTo>
                  <a:lnTo>
                    <a:pt x="210" y="100"/>
                  </a:lnTo>
                  <a:lnTo>
                    <a:pt x="210" y="103"/>
                  </a:lnTo>
                  <a:lnTo>
                    <a:pt x="211" y="105"/>
                  </a:lnTo>
                  <a:lnTo>
                    <a:pt x="210" y="109"/>
                  </a:lnTo>
                  <a:lnTo>
                    <a:pt x="210" y="112"/>
                  </a:lnTo>
                  <a:lnTo>
                    <a:pt x="208" y="114"/>
                  </a:lnTo>
                  <a:lnTo>
                    <a:pt x="207" y="116"/>
                  </a:lnTo>
                  <a:lnTo>
                    <a:pt x="205" y="119"/>
                  </a:lnTo>
                  <a:lnTo>
                    <a:pt x="201" y="120"/>
                  </a:lnTo>
                  <a:lnTo>
                    <a:pt x="199" y="121"/>
                  </a:lnTo>
                  <a:lnTo>
                    <a:pt x="196" y="121"/>
                  </a:lnTo>
                  <a:lnTo>
                    <a:pt x="192" y="121"/>
                  </a:lnTo>
                  <a:lnTo>
                    <a:pt x="190" y="120"/>
                  </a:lnTo>
                  <a:lnTo>
                    <a:pt x="187" y="119"/>
                  </a:lnTo>
                  <a:lnTo>
                    <a:pt x="185" y="116"/>
                  </a:lnTo>
                  <a:lnTo>
                    <a:pt x="184" y="114"/>
                  </a:lnTo>
                  <a:lnTo>
                    <a:pt x="181" y="112"/>
                  </a:lnTo>
                  <a:lnTo>
                    <a:pt x="181" y="109"/>
                  </a:lnTo>
                  <a:lnTo>
                    <a:pt x="180" y="105"/>
                  </a:lnTo>
                  <a:lnTo>
                    <a:pt x="181" y="102"/>
                  </a:lnTo>
                  <a:lnTo>
                    <a:pt x="181" y="100"/>
                  </a:lnTo>
                  <a:lnTo>
                    <a:pt x="184" y="98"/>
                  </a:lnTo>
                  <a:lnTo>
                    <a:pt x="185" y="95"/>
                  </a:lnTo>
                  <a:lnTo>
                    <a:pt x="187" y="93"/>
                  </a:lnTo>
                  <a:lnTo>
                    <a:pt x="190" y="92"/>
                  </a:lnTo>
                  <a:lnTo>
                    <a:pt x="192" y="91"/>
                  </a:lnTo>
                  <a:lnTo>
                    <a:pt x="196" y="91"/>
                  </a:lnTo>
                  <a:lnTo>
                    <a:pt x="196" y="91"/>
                  </a:lnTo>
                  <a:close/>
                  <a:moveTo>
                    <a:pt x="0" y="423"/>
                  </a:moveTo>
                  <a:lnTo>
                    <a:pt x="271" y="423"/>
                  </a:lnTo>
                  <a:lnTo>
                    <a:pt x="271" y="0"/>
                  </a:lnTo>
                  <a:lnTo>
                    <a:pt x="0" y="0"/>
                  </a:lnTo>
                  <a:lnTo>
                    <a:pt x="0" y="4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460">
              <a:extLst>
                <a:ext uri="{FF2B5EF4-FFF2-40B4-BE49-F238E27FC236}">
                  <a16:creationId xmlns:a16="http://schemas.microsoft.com/office/drawing/2014/main" id="{7630934C-6A42-4D87-947E-2BD5062A2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3" y="869950"/>
              <a:ext cx="68263" cy="19050"/>
            </a:xfrm>
            <a:custGeom>
              <a:avLst/>
              <a:gdLst>
                <a:gd name="T0" fmla="*/ 204 w 215"/>
                <a:gd name="T1" fmla="*/ 59 h 59"/>
                <a:gd name="T2" fmla="*/ 210 w 215"/>
                <a:gd name="T3" fmla="*/ 56 h 59"/>
                <a:gd name="T4" fmla="*/ 214 w 215"/>
                <a:gd name="T5" fmla="*/ 50 h 59"/>
                <a:gd name="T6" fmla="*/ 215 w 215"/>
                <a:gd name="T7" fmla="*/ 45 h 59"/>
                <a:gd name="T8" fmla="*/ 214 w 215"/>
                <a:gd name="T9" fmla="*/ 38 h 59"/>
                <a:gd name="T10" fmla="*/ 211 w 215"/>
                <a:gd name="T11" fmla="*/ 34 h 59"/>
                <a:gd name="T12" fmla="*/ 198 w 215"/>
                <a:gd name="T13" fmla="*/ 25 h 59"/>
                <a:gd name="T14" fmla="*/ 173 w 215"/>
                <a:gd name="T15" fmla="*/ 13 h 59"/>
                <a:gd name="T16" fmla="*/ 147 w 215"/>
                <a:gd name="T17" fmla="*/ 5 h 59"/>
                <a:gd name="T18" fmla="*/ 120 w 215"/>
                <a:gd name="T19" fmla="*/ 1 h 59"/>
                <a:gd name="T20" fmla="*/ 94 w 215"/>
                <a:gd name="T21" fmla="*/ 1 h 59"/>
                <a:gd name="T22" fmla="*/ 68 w 215"/>
                <a:gd name="T23" fmla="*/ 5 h 59"/>
                <a:gd name="T24" fmla="*/ 42 w 215"/>
                <a:gd name="T25" fmla="*/ 13 h 59"/>
                <a:gd name="T26" fmla="*/ 17 w 215"/>
                <a:gd name="T27" fmla="*/ 25 h 59"/>
                <a:gd name="T28" fmla="*/ 4 w 215"/>
                <a:gd name="T29" fmla="*/ 34 h 59"/>
                <a:gd name="T30" fmla="*/ 1 w 215"/>
                <a:gd name="T31" fmla="*/ 38 h 59"/>
                <a:gd name="T32" fmla="*/ 0 w 215"/>
                <a:gd name="T33" fmla="*/ 45 h 59"/>
                <a:gd name="T34" fmla="*/ 1 w 215"/>
                <a:gd name="T35" fmla="*/ 50 h 59"/>
                <a:gd name="T36" fmla="*/ 4 w 215"/>
                <a:gd name="T37" fmla="*/ 55 h 59"/>
                <a:gd name="T38" fmla="*/ 9 w 215"/>
                <a:gd name="T39" fmla="*/ 58 h 59"/>
                <a:gd name="T40" fmla="*/ 14 w 215"/>
                <a:gd name="T41" fmla="*/ 59 h 59"/>
                <a:gd name="T42" fmla="*/ 21 w 215"/>
                <a:gd name="T43" fmla="*/ 58 h 59"/>
                <a:gd name="T44" fmla="*/ 33 w 215"/>
                <a:gd name="T45" fmla="*/ 50 h 59"/>
                <a:gd name="T46" fmla="*/ 53 w 215"/>
                <a:gd name="T47" fmla="*/ 41 h 59"/>
                <a:gd name="T48" fmla="*/ 75 w 215"/>
                <a:gd name="T49" fmla="*/ 35 h 59"/>
                <a:gd name="T50" fmla="*/ 96 w 215"/>
                <a:gd name="T51" fmla="*/ 31 h 59"/>
                <a:gd name="T52" fmla="*/ 118 w 215"/>
                <a:gd name="T53" fmla="*/ 31 h 59"/>
                <a:gd name="T54" fmla="*/ 140 w 215"/>
                <a:gd name="T55" fmla="*/ 35 h 59"/>
                <a:gd name="T56" fmla="*/ 162 w 215"/>
                <a:gd name="T57" fmla="*/ 41 h 59"/>
                <a:gd name="T58" fmla="*/ 182 w 215"/>
                <a:gd name="T59" fmla="*/ 50 h 59"/>
                <a:gd name="T60" fmla="*/ 195 w 215"/>
                <a:gd name="T61" fmla="*/ 59 h 59"/>
                <a:gd name="T62" fmla="*/ 200 w 215"/>
                <a:gd name="T6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5" h="59">
                  <a:moveTo>
                    <a:pt x="200" y="59"/>
                  </a:moveTo>
                  <a:lnTo>
                    <a:pt x="204" y="59"/>
                  </a:lnTo>
                  <a:lnTo>
                    <a:pt x="208" y="58"/>
                  </a:lnTo>
                  <a:lnTo>
                    <a:pt x="210" y="56"/>
                  </a:lnTo>
                  <a:lnTo>
                    <a:pt x="213" y="52"/>
                  </a:lnTo>
                  <a:lnTo>
                    <a:pt x="214" y="50"/>
                  </a:lnTo>
                  <a:lnTo>
                    <a:pt x="215" y="47"/>
                  </a:lnTo>
                  <a:lnTo>
                    <a:pt x="215" y="45"/>
                  </a:lnTo>
                  <a:lnTo>
                    <a:pt x="215" y="41"/>
                  </a:lnTo>
                  <a:lnTo>
                    <a:pt x="214" y="38"/>
                  </a:lnTo>
                  <a:lnTo>
                    <a:pt x="213" y="36"/>
                  </a:lnTo>
                  <a:lnTo>
                    <a:pt x="211" y="34"/>
                  </a:lnTo>
                  <a:lnTo>
                    <a:pt x="209" y="31"/>
                  </a:lnTo>
                  <a:lnTo>
                    <a:pt x="198" y="25"/>
                  </a:lnTo>
                  <a:lnTo>
                    <a:pt x="186" y="18"/>
                  </a:lnTo>
                  <a:lnTo>
                    <a:pt x="173" y="13"/>
                  </a:lnTo>
                  <a:lnTo>
                    <a:pt x="160" y="8"/>
                  </a:lnTo>
                  <a:lnTo>
                    <a:pt x="147" y="5"/>
                  </a:lnTo>
                  <a:lnTo>
                    <a:pt x="134" y="3"/>
                  </a:lnTo>
                  <a:lnTo>
                    <a:pt x="120" y="1"/>
                  </a:lnTo>
                  <a:lnTo>
                    <a:pt x="107" y="0"/>
                  </a:lnTo>
                  <a:lnTo>
                    <a:pt x="94" y="1"/>
                  </a:lnTo>
                  <a:lnTo>
                    <a:pt x="80" y="3"/>
                  </a:lnTo>
                  <a:lnTo>
                    <a:pt x="68" y="5"/>
                  </a:lnTo>
                  <a:lnTo>
                    <a:pt x="55" y="8"/>
                  </a:lnTo>
                  <a:lnTo>
                    <a:pt x="42" y="13"/>
                  </a:lnTo>
                  <a:lnTo>
                    <a:pt x="30" y="18"/>
                  </a:lnTo>
                  <a:lnTo>
                    <a:pt x="17" y="25"/>
                  </a:lnTo>
                  <a:lnTo>
                    <a:pt x="6" y="31"/>
                  </a:lnTo>
                  <a:lnTo>
                    <a:pt x="4" y="34"/>
                  </a:lnTo>
                  <a:lnTo>
                    <a:pt x="2" y="36"/>
                  </a:lnTo>
                  <a:lnTo>
                    <a:pt x="1" y="38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7"/>
                  </a:lnTo>
                  <a:lnTo>
                    <a:pt x="1" y="50"/>
                  </a:lnTo>
                  <a:lnTo>
                    <a:pt x="2" y="52"/>
                  </a:lnTo>
                  <a:lnTo>
                    <a:pt x="4" y="55"/>
                  </a:lnTo>
                  <a:lnTo>
                    <a:pt x="6" y="57"/>
                  </a:lnTo>
                  <a:lnTo>
                    <a:pt x="9" y="58"/>
                  </a:lnTo>
                  <a:lnTo>
                    <a:pt x="12" y="59"/>
                  </a:lnTo>
                  <a:lnTo>
                    <a:pt x="14" y="59"/>
                  </a:lnTo>
                  <a:lnTo>
                    <a:pt x="17" y="59"/>
                  </a:lnTo>
                  <a:lnTo>
                    <a:pt x="21" y="58"/>
                  </a:lnTo>
                  <a:lnTo>
                    <a:pt x="23" y="57"/>
                  </a:lnTo>
                  <a:lnTo>
                    <a:pt x="33" y="50"/>
                  </a:lnTo>
                  <a:lnTo>
                    <a:pt x="43" y="46"/>
                  </a:lnTo>
                  <a:lnTo>
                    <a:pt x="53" y="41"/>
                  </a:lnTo>
                  <a:lnTo>
                    <a:pt x="64" y="37"/>
                  </a:lnTo>
                  <a:lnTo>
                    <a:pt x="75" y="35"/>
                  </a:lnTo>
                  <a:lnTo>
                    <a:pt x="85" y="32"/>
                  </a:lnTo>
                  <a:lnTo>
                    <a:pt x="96" y="31"/>
                  </a:lnTo>
                  <a:lnTo>
                    <a:pt x="107" y="31"/>
                  </a:lnTo>
                  <a:lnTo>
                    <a:pt x="118" y="31"/>
                  </a:lnTo>
                  <a:lnTo>
                    <a:pt x="129" y="32"/>
                  </a:lnTo>
                  <a:lnTo>
                    <a:pt x="140" y="35"/>
                  </a:lnTo>
                  <a:lnTo>
                    <a:pt x="151" y="37"/>
                  </a:lnTo>
                  <a:lnTo>
                    <a:pt x="162" y="41"/>
                  </a:lnTo>
                  <a:lnTo>
                    <a:pt x="172" y="46"/>
                  </a:lnTo>
                  <a:lnTo>
                    <a:pt x="182" y="50"/>
                  </a:lnTo>
                  <a:lnTo>
                    <a:pt x="192" y="57"/>
                  </a:lnTo>
                  <a:lnTo>
                    <a:pt x="195" y="59"/>
                  </a:lnTo>
                  <a:lnTo>
                    <a:pt x="200" y="59"/>
                  </a:lnTo>
                  <a:lnTo>
                    <a:pt x="20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461">
              <a:extLst>
                <a:ext uri="{FF2B5EF4-FFF2-40B4-BE49-F238E27FC236}">
                  <a16:creationId xmlns:a16="http://schemas.microsoft.com/office/drawing/2014/main" id="{627A51E2-936C-4260-9ACD-02BC3ABA2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2375" y="841375"/>
              <a:ext cx="96838" cy="23813"/>
            </a:xfrm>
            <a:custGeom>
              <a:avLst/>
              <a:gdLst>
                <a:gd name="T0" fmla="*/ 6 w 307"/>
                <a:gd name="T1" fmla="*/ 46 h 73"/>
                <a:gd name="T2" fmla="*/ 4 w 307"/>
                <a:gd name="T3" fmla="*/ 47 h 73"/>
                <a:gd name="T4" fmla="*/ 3 w 307"/>
                <a:gd name="T5" fmla="*/ 51 h 73"/>
                <a:gd name="T6" fmla="*/ 0 w 307"/>
                <a:gd name="T7" fmla="*/ 53 h 73"/>
                <a:gd name="T8" fmla="*/ 0 w 307"/>
                <a:gd name="T9" fmla="*/ 55 h 73"/>
                <a:gd name="T10" fmla="*/ 0 w 307"/>
                <a:gd name="T11" fmla="*/ 58 h 73"/>
                <a:gd name="T12" fmla="*/ 0 w 307"/>
                <a:gd name="T13" fmla="*/ 62 h 73"/>
                <a:gd name="T14" fmla="*/ 1 w 307"/>
                <a:gd name="T15" fmla="*/ 64 h 73"/>
                <a:gd name="T16" fmla="*/ 3 w 307"/>
                <a:gd name="T17" fmla="*/ 67 h 73"/>
                <a:gd name="T18" fmla="*/ 5 w 307"/>
                <a:gd name="T19" fmla="*/ 69 h 73"/>
                <a:gd name="T20" fmla="*/ 8 w 307"/>
                <a:gd name="T21" fmla="*/ 72 h 73"/>
                <a:gd name="T22" fmla="*/ 11 w 307"/>
                <a:gd name="T23" fmla="*/ 73 h 73"/>
                <a:gd name="T24" fmla="*/ 15 w 307"/>
                <a:gd name="T25" fmla="*/ 73 h 73"/>
                <a:gd name="T26" fmla="*/ 19 w 307"/>
                <a:gd name="T27" fmla="*/ 73 h 73"/>
                <a:gd name="T28" fmla="*/ 24 w 307"/>
                <a:gd name="T29" fmla="*/ 71 h 73"/>
                <a:gd name="T30" fmla="*/ 38 w 307"/>
                <a:gd name="T31" fmla="*/ 61 h 73"/>
                <a:gd name="T32" fmla="*/ 53 w 307"/>
                <a:gd name="T33" fmla="*/ 53 h 73"/>
                <a:gd name="T34" fmla="*/ 70 w 307"/>
                <a:gd name="T35" fmla="*/ 45 h 73"/>
                <a:gd name="T36" fmla="*/ 86 w 307"/>
                <a:gd name="T37" fmla="*/ 40 h 73"/>
                <a:gd name="T38" fmla="*/ 102 w 307"/>
                <a:gd name="T39" fmla="*/ 35 h 73"/>
                <a:gd name="T40" fmla="*/ 120 w 307"/>
                <a:gd name="T41" fmla="*/ 32 h 73"/>
                <a:gd name="T42" fmla="*/ 136 w 307"/>
                <a:gd name="T43" fmla="*/ 30 h 73"/>
                <a:gd name="T44" fmla="*/ 153 w 307"/>
                <a:gd name="T45" fmla="*/ 30 h 73"/>
                <a:gd name="T46" fmla="*/ 171 w 307"/>
                <a:gd name="T47" fmla="*/ 30 h 73"/>
                <a:gd name="T48" fmla="*/ 187 w 307"/>
                <a:gd name="T49" fmla="*/ 32 h 73"/>
                <a:gd name="T50" fmla="*/ 204 w 307"/>
                <a:gd name="T51" fmla="*/ 35 h 73"/>
                <a:gd name="T52" fmla="*/ 220 w 307"/>
                <a:gd name="T53" fmla="*/ 40 h 73"/>
                <a:gd name="T54" fmla="*/ 237 w 307"/>
                <a:gd name="T55" fmla="*/ 45 h 73"/>
                <a:gd name="T56" fmla="*/ 253 w 307"/>
                <a:gd name="T57" fmla="*/ 53 h 73"/>
                <a:gd name="T58" fmla="*/ 268 w 307"/>
                <a:gd name="T59" fmla="*/ 61 h 73"/>
                <a:gd name="T60" fmla="*/ 284 w 307"/>
                <a:gd name="T61" fmla="*/ 71 h 73"/>
                <a:gd name="T62" fmla="*/ 286 w 307"/>
                <a:gd name="T63" fmla="*/ 72 h 73"/>
                <a:gd name="T64" fmla="*/ 289 w 307"/>
                <a:gd name="T65" fmla="*/ 73 h 73"/>
                <a:gd name="T66" fmla="*/ 291 w 307"/>
                <a:gd name="T67" fmla="*/ 73 h 73"/>
                <a:gd name="T68" fmla="*/ 295 w 307"/>
                <a:gd name="T69" fmla="*/ 73 h 73"/>
                <a:gd name="T70" fmla="*/ 298 w 307"/>
                <a:gd name="T71" fmla="*/ 72 h 73"/>
                <a:gd name="T72" fmla="*/ 300 w 307"/>
                <a:gd name="T73" fmla="*/ 71 h 73"/>
                <a:gd name="T74" fmla="*/ 302 w 307"/>
                <a:gd name="T75" fmla="*/ 69 h 73"/>
                <a:gd name="T76" fmla="*/ 305 w 307"/>
                <a:gd name="T77" fmla="*/ 67 h 73"/>
                <a:gd name="T78" fmla="*/ 306 w 307"/>
                <a:gd name="T79" fmla="*/ 64 h 73"/>
                <a:gd name="T80" fmla="*/ 307 w 307"/>
                <a:gd name="T81" fmla="*/ 62 h 73"/>
                <a:gd name="T82" fmla="*/ 307 w 307"/>
                <a:gd name="T83" fmla="*/ 58 h 73"/>
                <a:gd name="T84" fmla="*/ 307 w 307"/>
                <a:gd name="T85" fmla="*/ 55 h 73"/>
                <a:gd name="T86" fmla="*/ 306 w 307"/>
                <a:gd name="T87" fmla="*/ 53 h 73"/>
                <a:gd name="T88" fmla="*/ 305 w 307"/>
                <a:gd name="T89" fmla="*/ 51 h 73"/>
                <a:gd name="T90" fmla="*/ 303 w 307"/>
                <a:gd name="T91" fmla="*/ 47 h 73"/>
                <a:gd name="T92" fmla="*/ 301 w 307"/>
                <a:gd name="T93" fmla="*/ 46 h 73"/>
                <a:gd name="T94" fmla="*/ 284 w 307"/>
                <a:gd name="T95" fmla="*/ 35 h 73"/>
                <a:gd name="T96" fmla="*/ 267 w 307"/>
                <a:gd name="T97" fmla="*/ 25 h 73"/>
                <a:gd name="T98" fmla="*/ 248 w 307"/>
                <a:gd name="T99" fmla="*/ 17 h 73"/>
                <a:gd name="T100" fmla="*/ 230 w 307"/>
                <a:gd name="T101" fmla="*/ 11 h 73"/>
                <a:gd name="T102" fmla="*/ 212 w 307"/>
                <a:gd name="T103" fmla="*/ 5 h 73"/>
                <a:gd name="T104" fmla="*/ 192 w 307"/>
                <a:gd name="T105" fmla="*/ 2 h 73"/>
                <a:gd name="T106" fmla="*/ 173 w 307"/>
                <a:gd name="T107" fmla="*/ 0 h 73"/>
                <a:gd name="T108" fmla="*/ 153 w 307"/>
                <a:gd name="T109" fmla="*/ 0 h 73"/>
                <a:gd name="T110" fmla="*/ 134 w 307"/>
                <a:gd name="T111" fmla="*/ 0 h 73"/>
                <a:gd name="T112" fmla="*/ 115 w 307"/>
                <a:gd name="T113" fmla="*/ 2 h 73"/>
                <a:gd name="T114" fmla="*/ 95 w 307"/>
                <a:gd name="T115" fmla="*/ 5 h 73"/>
                <a:gd name="T116" fmla="*/ 77 w 307"/>
                <a:gd name="T117" fmla="*/ 11 h 73"/>
                <a:gd name="T118" fmla="*/ 59 w 307"/>
                <a:gd name="T119" fmla="*/ 17 h 73"/>
                <a:gd name="T120" fmla="*/ 40 w 307"/>
                <a:gd name="T121" fmla="*/ 25 h 73"/>
                <a:gd name="T122" fmla="*/ 24 w 307"/>
                <a:gd name="T123" fmla="*/ 35 h 73"/>
                <a:gd name="T124" fmla="*/ 6 w 307"/>
                <a:gd name="T125" fmla="*/ 4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7" h="73">
                  <a:moveTo>
                    <a:pt x="6" y="46"/>
                  </a:moveTo>
                  <a:lnTo>
                    <a:pt x="4" y="47"/>
                  </a:lnTo>
                  <a:lnTo>
                    <a:pt x="3" y="51"/>
                  </a:lnTo>
                  <a:lnTo>
                    <a:pt x="0" y="53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1" y="64"/>
                  </a:lnTo>
                  <a:lnTo>
                    <a:pt x="3" y="67"/>
                  </a:lnTo>
                  <a:lnTo>
                    <a:pt x="5" y="69"/>
                  </a:lnTo>
                  <a:lnTo>
                    <a:pt x="8" y="72"/>
                  </a:lnTo>
                  <a:lnTo>
                    <a:pt x="11" y="73"/>
                  </a:lnTo>
                  <a:lnTo>
                    <a:pt x="15" y="73"/>
                  </a:lnTo>
                  <a:lnTo>
                    <a:pt x="19" y="73"/>
                  </a:lnTo>
                  <a:lnTo>
                    <a:pt x="24" y="71"/>
                  </a:lnTo>
                  <a:lnTo>
                    <a:pt x="38" y="61"/>
                  </a:lnTo>
                  <a:lnTo>
                    <a:pt x="53" y="53"/>
                  </a:lnTo>
                  <a:lnTo>
                    <a:pt x="70" y="45"/>
                  </a:lnTo>
                  <a:lnTo>
                    <a:pt x="86" y="40"/>
                  </a:lnTo>
                  <a:lnTo>
                    <a:pt x="102" y="35"/>
                  </a:lnTo>
                  <a:lnTo>
                    <a:pt x="120" y="32"/>
                  </a:lnTo>
                  <a:lnTo>
                    <a:pt x="136" y="30"/>
                  </a:lnTo>
                  <a:lnTo>
                    <a:pt x="153" y="30"/>
                  </a:lnTo>
                  <a:lnTo>
                    <a:pt x="171" y="30"/>
                  </a:lnTo>
                  <a:lnTo>
                    <a:pt x="187" y="32"/>
                  </a:lnTo>
                  <a:lnTo>
                    <a:pt x="204" y="35"/>
                  </a:lnTo>
                  <a:lnTo>
                    <a:pt x="220" y="40"/>
                  </a:lnTo>
                  <a:lnTo>
                    <a:pt x="237" y="45"/>
                  </a:lnTo>
                  <a:lnTo>
                    <a:pt x="253" y="53"/>
                  </a:lnTo>
                  <a:lnTo>
                    <a:pt x="268" y="61"/>
                  </a:lnTo>
                  <a:lnTo>
                    <a:pt x="284" y="71"/>
                  </a:lnTo>
                  <a:lnTo>
                    <a:pt x="286" y="72"/>
                  </a:lnTo>
                  <a:lnTo>
                    <a:pt x="289" y="73"/>
                  </a:lnTo>
                  <a:lnTo>
                    <a:pt x="291" y="73"/>
                  </a:lnTo>
                  <a:lnTo>
                    <a:pt x="295" y="73"/>
                  </a:lnTo>
                  <a:lnTo>
                    <a:pt x="298" y="72"/>
                  </a:lnTo>
                  <a:lnTo>
                    <a:pt x="300" y="71"/>
                  </a:lnTo>
                  <a:lnTo>
                    <a:pt x="302" y="69"/>
                  </a:lnTo>
                  <a:lnTo>
                    <a:pt x="305" y="67"/>
                  </a:lnTo>
                  <a:lnTo>
                    <a:pt x="306" y="64"/>
                  </a:lnTo>
                  <a:lnTo>
                    <a:pt x="307" y="62"/>
                  </a:lnTo>
                  <a:lnTo>
                    <a:pt x="307" y="58"/>
                  </a:lnTo>
                  <a:lnTo>
                    <a:pt x="307" y="55"/>
                  </a:lnTo>
                  <a:lnTo>
                    <a:pt x="306" y="53"/>
                  </a:lnTo>
                  <a:lnTo>
                    <a:pt x="305" y="51"/>
                  </a:lnTo>
                  <a:lnTo>
                    <a:pt x="303" y="47"/>
                  </a:lnTo>
                  <a:lnTo>
                    <a:pt x="301" y="46"/>
                  </a:lnTo>
                  <a:lnTo>
                    <a:pt x="284" y="35"/>
                  </a:lnTo>
                  <a:lnTo>
                    <a:pt x="267" y="25"/>
                  </a:lnTo>
                  <a:lnTo>
                    <a:pt x="248" y="17"/>
                  </a:lnTo>
                  <a:lnTo>
                    <a:pt x="230" y="11"/>
                  </a:lnTo>
                  <a:lnTo>
                    <a:pt x="212" y="5"/>
                  </a:lnTo>
                  <a:lnTo>
                    <a:pt x="192" y="2"/>
                  </a:lnTo>
                  <a:lnTo>
                    <a:pt x="173" y="0"/>
                  </a:lnTo>
                  <a:lnTo>
                    <a:pt x="153" y="0"/>
                  </a:lnTo>
                  <a:lnTo>
                    <a:pt x="134" y="0"/>
                  </a:lnTo>
                  <a:lnTo>
                    <a:pt x="115" y="2"/>
                  </a:lnTo>
                  <a:lnTo>
                    <a:pt x="95" y="5"/>
                  </a:lnTo>
                  <a:lnTo>
                    <a:pt x="77" y="11"/>
                  </a:lnTo>
                  <a:lnTo>
                    <a:pt x="59" y="17"/>
                  </a:lnTo>
                  <a:lnTo>
                    <a:pt x="40" y="25"/>
                  </a:lnTo>
                  <a:lnTo>
                    <a:pt x="24" y="35"/>
                  </a:lnTo>
                  <a:lnTo>
                    <a:pt x="6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1462">
              <a:extLst>
                <a:ext uri="{FF2B5EF4-FFF2-40B4-BE49-F238E27FC236}">
                  <a16:creationId xmlns:a16="http://schemas.microsoft.com/office/drawing/2014/main" id="{91A2A146-09F8-44CF-B483-40D2A0A0C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898525"/>
              <a:ext cx="39688" cy="14288"/>
            </a:xfrm>
            <a:custGeom>
              <a:avLst/>
              <a:gdLst>
                <a:gd name="T0" fmla="*/ 8 w 124"/>
                <a:gd name="T1" fmla="*/ 16 h 43"/>
                <a:gd name="T2" fmla="*/ 6 w 124"/>
                <a:gd name="T3" fmla="*/ 18 h 43"/>
                <a:gd name="T4" fmla="*/ 3 w 124"/>
                <a:gd name="T5" fmla="*/ 20 h 43"/>
                <a:gd name="T6" fmla="*/ 2 w 124"/>
                <a:gd name="T7" fmla="*/ 22 h 43"/>
                <a:gd name="T8" fmla="*/ 1 w 124"/>
                <a:gd name="T9" fmla="*/ 26 h 43"/>
                <a:gd name="T10" fmla="*/ 0 w 124"/>
                <a:gd name="T11" fmla="*/ 28 h 43"/>
                <a:gd name="T12" fmla="*/ 0 w 124"/>
                <a:gd name="T13" fmla="*/ 31 h 43"/>
                <a:gd name="T14" fmla="*/ 1 w 124"/>
                <a:gd name="T15" fmla="*/ 33 h 43"/>
                <a:gd name="T16" fmla="*/ 2 w 124"/>
                <a:gd name="T17" fmla="*/ 37 h 43"/>
                <a:gd name="T18" fmla="*/ 6 w 124"/>
                <a:gd name="T19" fmla="*/ 40 h 43"/>
                <a:gd name="T20" fmla="*/ 8 w 124"/>
                <a:gd name="T21" fmla="*/ 42 h 43"/>
                <a:gd name="T22" fmla="*/ 12 w 124"/>
                <a:gd name="T23" fmla="*/ 43 h 43"/>
                <a:gd name="T24" fmla="*/ 16 w 124"/>
                <a:gd name="T25" fmla="*/ 43 h 43"/>
                <a:gd name="T26" fmla="*/ 20 w 124"/>
                <a:gd name="T27" fmla="*/ 43 h 43"/>
                <a:gd name="T28" fmla="*/ 23 w 124"/>
                <a:gd name="T29" fmla="*/ 42 h 43"/>
                <a:gd name="T30" fmla="*/ 33 w 124"/>
                <a:gd name="T31" fmla="*/ 37 h 43"/>
                <a:gd name="T32" fmla="*/ 42 w 124"/>
                <a:gd name="T33" fmla="*/ 33 h 43"/>
                <a:gd name="T34" fmla="*/ 52 w 124"/>
                <a:gd name="T35" fmla="*/ 31 h 43"/>
                <a:gd name="T36" fmla="*/ 62 w 124"/>
                <a:gd name="T37" fmla="*/ 30 h 43"/>
                <a:gd name="T38" fmla="*/ 73 w 124"/>
                <a:gd name="T39" fmla="*/ 31 h 43"/>
                <a:gd name="T40" fmla="*/ 83 w 124"/>
                <a:gd name="T41" fmla="*/ 33 h 43"/>
                <a:gd name="T42" fmla="*/ 92 w 124"/>
                <a:gd name="T43" fmla="*/ 37 h 43"/>
                <a:gd name="T44" fmla="*/ 102 w 124"/>
                <a:gd name="T45" fmla="*/ 42 h 43"/>
                <a:gd name="T46" fmla="*/ 104 w 124"/>
                <a:gd name="T47" fmla="*/ 43 h 43"/>
                <a:gd name="T48" fmla="*/ 107 w 124"/>
                <a:gd name="T49" fmla="*/ 43 h 43"/>
                <a:gd name="T50" fmla="*/ 110 w 124"/>
                <a:gd name="T51" fmla="*/ 43 h 43"/>
                <a:gd name="T52" fmla="*/ 113 w 124"/>
                <a:gd name="T53" fmla="*/ 43 h 43"/>
                <a:gd name="T54" fmla="*/ 116 w 124"/>
                <a:gd name="T55" fmla="*/ 42 h 43"/>
                <a:gd name="T56" fmla="*/ 118 w 124"/>
                <a:gd name="T57" fmla="*/ 41 h 43"/>
                <a:gd name="T58" fmla="*/ 121 w 124"/>
                <a:gd name="T59" fmla="*/ 39 h 43"/>
                <a:gd name="T60" fmla="*/ 123 w 124"/>
                <a:gd name="T61" fmla="*/ 37 h 43"/>
                <a:gd name="T62" fmla="*/ 124 w 124"/>
                <a:gd name="T63" fmla="*/ 33 h 43"/>
                <a:gd name="T64" fmla="*/ 124 w 124"/>
                <a:gd name="T65" fmla="*/ 31 h 43"/>
                <a:gd name="T66" fmla="*/ 124 w 124"/>
                <a:gd name="T67" fmla="*/ 28 h 43"/>
                <a:gd name="T68" fmla="*/ 124 w 124"/>
                <a:gd name="T69" fmla="*/ 26 h 43"/>
                <a:gd name="T70" fmla="*/ 123 w 124"/>
                <a:gd name="T71" fmla="*/ 22 h 43"/>
                <a:gd name="T72" fmla="*/ 122 w 124"/>
                <a:gd name="T73" fmla="*/ 20 h 43"/>
                <a:gd name="T74" fmla="*/ 119 w 124"/>
                <a:gd name="T75" fmla="*/ 18 h 43"/>
                <a:gd name="T76" fmla="*/ 117 w 124"/>
                <a:gd name="T77" fmla="*/ 16 h 43"/>
                <a:gd name="T78" fmla="*/ 104 w 124"/>
                <a:gd name="T79" fmla="*/ 9 h 43"/>
                <a:gd name="T80" fmla="*/ 91 w 124"/>
                <a:gd name="T81" fmla="*/ 5 h 43"/>
                <a:gd name="T82" fmla="*/ 76 w 124"/>
                <a:gd name="T83" fmla="*/ 1 h 43"/>
                <a:gd name="T84" fmla="*/ 62 w 124"/>
                <a:gd name="T85" fmla="*/ 0 h 43"/>
                <a:gd name="T86" fmla="*/ 49 w 124"/>
                <a:gd name="T87" fmla="*/ 1 h 43"/>
                <a:gd name="T88" fmla="*/ 34 w 124"/>
                <a:gd name="T89" fmla="*/ 5 h 43"/>
                <a:gd name="T90" fmla="*/ 21 w 124"/>
                <a:gd name="T91" fmla="*/ 9 h 43"/>
                <a:gd name="T92" fmla="*/ 8 w 124"/>
                <a:gd name="T93" fmla="*/ 16 h 43"/>
                <a:gd name="T94" fmla="*/ 8 w 124"/>
                <a:gd name="T95" fmla="*/ 1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4" h="43">
                  <a:moveTo>
                    <a:pt x="8" y="16"/>
                  </a:moveTo>
                  <a:lnTo>
                    <a:pt x="6" y="18"/>
                  </a:lnTo>
                  <a:lnTo>
                    <a:pt x="3" y="20"/>
                  </a:lnTo>
                  <a:lnTo>
                    <a:pt x="2" y="22"/>
                  </a:lnTo>
                  <a:lnTo>
                    <a:pt x="1" y="26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7"/>
                  </a:lnTo>
                  <a:lnTo>
                    <a:pt x="6" y="40"/>
                  </a:lnTo>
                  <a:lnTo>
                    <a:pt x="8" y="42"/>
                  </a:lnTo>
                  <a:lnTo>
                    <a:pt x="12" y="43"/>
                  </a:lnTo>
                  <a:lnTo>
                    <a:pt x="16" y="43"/>
                  </a:lnTo>
                  <a:lnTo>
                    <a:pt x="20" y="43"/>
                  </a:lnTo>
                  <a:lnTo>
                    <a:pt x="23" y="42"/>
                  </a:lnTo>
                  <a:lnTo>
                    <a:pt x="33" y="37"/>
                  </a:lnTo>
                  <a:lnTo>
                    <a:pt x="42" y="33"/>
                  </a:lnTo>
                  <a:lnTo>
                    <a:pt x="52" y="31"/>
                  </a:lnTo>
                  <a:lnTo>
                    <a:pt x="62" y="30"/>
                  </a:lnTo>
                  <a:lnTo>
                    <a:pt x="73" y="31"/>
                  </a:lnTo>
                  <a:lnTo>
                    <a:pt x="83" y="33"/>
                  </a:lnTo>
                  <a:lnTo>
                    <a:pt x="92" y="37"/>
                  </a:lnTo>
                  <a:lnTo>
                    <a:pt x="102" y="42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10" y="43"/>
                  </a:lnTo>
                  <a:lnTo>
                    <a:pt x="113" y="43"/>
                  </a:lnTo>
                  <a:lnTo>
                    <a:pt x="116" y="42"/>
                  </a:lnTo>
                  <a:lnTo>
                    <a:pt x="118" y="41"/>
                  </a:lnTo>
                  <a:lnTo>
                    <a:pt x="121" y="39"/>
                  </a:lnTo>
                  <a:lnTo>
                    <a:pt x="123" y="37"/>
                  </a:lnTo>
                  <a:lnTo>
                    <a:pt x="124" y="33"/>
                  </a:lnTo>
                  <a:lnTo>
                    <a:pt x="124" y="31"/>
                  </a:lnTo>
                  <a:lnTo>
                    <a:pt x="124" y="28"/>
                  </a:lnTo>
                  <a:lnTo>
                    <a:pt x="124" y="26"/>
                  </a:lnTo>
                  <a:lnTo>
                    <a:pt x="123" y="22"/>
                  </a:lnTo>
                  <a:lnTo>
                    <a:pt x="122" y="20"/>
                  </a:lnTo>
                  <a:lnTo>
                    <a:pt x="119" y="18"/>
                  </a:lnTo>
                  <a:lnTo>
                    <a:pt x="117" y="16"/>
                  </a:lnTo>
                  <a:lnTo>
                    <a:pt x="104" y="9"/>
                  </a:lnTo>
                  <a:lnTo>
                    <a:pt x="91" y="5"/>
                  </a:lnTo>
                  <a:lnTo>
                    <a:pt x="76" y="1"/>
                  </a:lnTo>
                  <a:lnTo>
                    <a:pt x="62" y="0"/>
                  </a:lnTo>
                  <a:lnTo>
                    <a:pt x="49" y="1"/>
                  </a:lnTo>
                  <a:lnTo>
                    <a:pt x="34" y="5"/>
                  </a:lnTo>
                  <a:lnTo>
                    <a:pt x="21" y="9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8731656" y="4279893"/>
            <a:ext cx="4613792" cy="2306896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TextBox 72">
            <a:hlinkClick r:id="rId12"/>
            <a:extLst>
              <a:ext uri="{FF2B5EF4-FFF2-40B4-BE49-F238E27FC236}">
                <a16:creationId xmlns:a16="http://schemas.microsoft.com/office/drawing/2014/main" id="{EDE849A8-DF87-49BD-BA54-274015B4D81B}"/>
              </a:ext>
            </a:extLst>
          </p:cNvPr>
          <p:cNvSpPr txBox="1"/>
          <p:nvPr/>
        </p:nvSpPr>
        <p:spPr>
          <a:xfrm>
            <a:off x="6096000" y="5216949"/>
            <a:ext cx="5457716" cy="73574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F6FC6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Y US OUT FOR JUST $1</a:t>
            </a: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A6BA5E63-69F5-4BE2-91ED-886D8CEC38A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360491" y="5372100"/>
            <a:ext cx="3351177" cy="1485900"/>
          </a:xfrm>
          <a:prstGeom prst="rect">
            <a:avLst/>
          </a:prstGeom>
        </p:spPr>
      </p:pic>
      <p:sp>
        <p:nvSpPr>
          <p:cNvPr id="48" name="Rectángulo 3">
            <a:extLst>
              <a:ext uri="{FF2B5EF4-FFF2-40B4-BE49-F238E27FC236}">
                <a16:creationId xmlns:a16="http://schemas.microsoft.com/office/drawing/2014/main" id="{FA1C4A1E-F46D-4688-BD06-FEFF576FDC12}"/>
              </a:ext>
            </a:extLst>
          </p:cNvPr>
          <p:cNvSpPr/>
          <p:nvPr/>
        </p:nvSpPr>
        <p:spPr>
          <a:xfrm>
            <a:off x="8196808" y="4181950"/>
            <a:ext cx="3580596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binar slides, and any other kind of project presentation you may have in mind! </a:t>
            </a:r>
          </a:p>
        </p:txBody>
      </p:sp>
      <p:sp>
        <p:nvSpPr>
          <p:cNvPr id="74" name="TextBox 72">
            <a:hlinkClick r:id="rId12"/>
            <a:extLst>
              <a:ext uri="{FF2B5EF4-FFF2-40B4-BE49-F238E27FC236}">
                <a16:creationId xmlns:a16="http://schemas.microsoft.com/office/drawing/2014/main" id="{437B3E03-6312-4249-B584-78FD381407E8}"/>
              </a:ext>
            </a:extLst>
          </p:cNvPr>
          <p:cNvSpPr txBox="1"/>
          <p:nvPr/>
        </p:nvSpPr>
        <p:spPr>
          <a:xfrm>
            <a:off x="7146995" y="5841545"/>
            <a:ext cx="3408941" cy="519351"/>
          </a:xfrm>
          <a:prstGeom prst="roundRect">
            <a:avLst>
              <a:gd name="adj" fmla="val 50000"/>
            </a:avLst>
          </a:prstGeom>
          <a:solidFill>
            <a:srgbClr val="4A72B3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slides.com/onedollar</a:t>
            </a:r>
          </a:p>
        </p:txBody>
      </p:sp>
    </p:spTree>
    <p:extLst>
      <p:ext uri="{BB962C8B-B14F-4D97-AF65-F5344CB8AC3E}">
        <p14:creationId xmlns:p14="http://schemas.microsoft.com/office/powerpoint/2010/main" val="40032994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648202"/>
            <a:ext cx="11362808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’ll take your presentation to new heights.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average PowerPoints to an impactful set of slides to wow your audience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tángulo 3">
            <a:extLst>
              <a:ext uri="{FF2B5EF4-FFF2-40B4-BE49-F238E27FC236}">
                <a16:creationId xmlns:a16="http://schemas.microsoft.com/office/drawing/2014/main" id="{3B8DB81C-BE0D-47E7-A849-F8ECD5B8693F}"/>
              </a:ext>
            </a:extLst>
          </p:cNvPr>
          <p:cNvSpPr/>
          <p:nvPr/>
        </p:nvSpPr>
        <p:spPr>
          <a:xfrm>
            <a:off x="414596" y="1692426"/>
            <a:ext cx="113628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E FOR YOURSELF!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BF7771B-460D-43AF-8B6D-AB4FC823A8F1}"/>
              </a:ext>
            </a:extLst>
          </p:cNvPr>
          <p:cNvGrpSpPr/>
          <p:nvPr/>
        </p:nvGrpSpPr>
        <p:grpSpPr>
          <a:xfrm>
            <a:off x="904956" y="2489200"/>
            <a:ext cx="4693260" cy="3937000"/>
            <a:chOff x="904956" y="2489200"/>
            <a:chExt cx="4693260" cy="3937000"/>
          </a:xfrm>
        </p:grpSpPr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7F205E5E-83C5-44D6-8EC6-140BE8B6B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4956" y="2489200"/>
              <a:ext cx="4693260" cy="3937000"/>
            </a:xfrm>
            <a:prstGeom prst="rect">
              <a:avLst/>
            </a:prstGeom>
          </p:spPr>
        </p:pic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D9C4CE78-ABC9-4F06-87FB-F12378099317}"/>
                </a:ext>
              </a:extLst>
            </p:cNvPr>
            <p:cNvSpPr/>
            <p:nvPr/>
          </p:nvSpPr>
          <p:spPr>
            <a:xfrm>
              <a:off x="2032386" y="5441315"/>
              <a:ext cx="2438400" cy="584200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EFORE</a:t>
              </a:r>
              <a:endPara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D5A71F8-69B1-4888-AC14-982946131003}"/>
              </a:ext>
            </a:extLst>
          </p:cNvPr>
          <p:cNvGrpSpPr/>
          <p:nvPr/>
        </p:nvGrpSpPr>
        <p:grpSpPr>
          <a:xfrm>
            <a:off x="6593786" y="2489200"/>
            <a:ext cx="4693260" cy="3937000"/>
            <a:chOff x="6593786" y="2489200"/>
            <a:chExt cx="4693260" cy="3937000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E255DE7B-C434-4B66-A67E-2421BF343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3786" y="2489200"/>
              <a:ext cx="4693260" cy="3937000"/>
            </a:xfrm>
            <a:prstGeom prst="rect">
              <a:avLst/>
            </a:prstGeom>
          </p:spPr>
        </p:pic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546E99A8-FE8C-41C7-BEFD-C1822DC53960}"/>
                </a:ext>
              </a:extLst>
            </p:cNvPr>
            <p:cNvSpPr/>
            <p:nvPr/>
          </p:nvSpPr>
          <p:spPr>
            <a:xfrm>
              <a:off x="7721216" y="5441315"/>
              <a:ext cx="2438400" cy="584200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FTER</a:t>
              </a:r>
              <a:endPara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pic>
        <p:nvPicPr>
          <p:cNvPr id="8" name="Imagen 7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55F59B3E-0E87-478E-B88F-B93442CEEBE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1" r="6065"/>
          <a:stretch/>
        </p:blipFill>
        <p:spPr>
          <a:xfrm>
            <a:off x="1385854" y="2715799"/>
            <a:ext cx="3731464" cy="2408894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DDCBF05E-4994-490D-9B85-A020E30B63A5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2" r="2008" b="3606"/>
          <a:stretch/>
        </p:blipFill>
        <p:spPr>
          <a:xfrm>
            <a:off x="6804088" y="2773372"/>
            <a:ext cx="4318614" cy="2281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3768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B04A82B-2E0A-4012-BACD-DFB9939FAC17}"/>
              </a:ext>
            </a:extLst>
          </p:cNvPr>
          <p:cNvGrpSpPr/>
          <p:nvPr/>
        </p:nvGrpSpPr>
        <p:grpSpPr>
          <a:xfrm>
            <a:off x="904956" y="2489200"/>
            <a:ext cx="4693260" cy="3937000"/>
            <a:chOff x="904956" y="2489200"/>
            <a:chExt cx="4693260" cy="3937000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ABF7771B-460D-43AF-8B6D-AB4FC823A8F1}"/>
                </a:ext>
              </a:extLst>
            </p:cNvPr>
            <p:cNvGrpSpPr/>
            <p:nvPr/>
          </p:nvGrpSpPr>
          <p:grpSpPr>
            <a:xfrm>
              <a:off x="904956" y="2489200"/>
              <a:ext cx="4693260" cy="3937000"/>
              <a:chOff x="904956" y="2489200"/>
              <a:chExt cx="4693260" cy="3937000"/>
            </a:xfrm>
          </p:grpSpPr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7F205E5E-83C5-44D6-8EC6-140BE8B6B4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04956" y="2489200"/>
                <a:ext cx="4693260" cy="3937000"/>
              </a:xfrm>
              <a:prstGeom prst="rect">
                <a:avLst/>
              </a:prstGeom>
            </p:spPr>
          </p:pic>
          <p:sp>
            <p:nvSpPr>
              <p:cNvPr id="47" name="Rectangle: Rounded Corners 46">
                <a:extLst>
                  <a:ext uri="{FF2B5EF4-FFF2-40B4-BE49-F238E27FC236}">
                    <a16:creationId xmlns:a16="http://schemas.microsoft.com/office/drawing/2014/main" id="{D9C4CE78-ABC9-4F06-87FB-F12378099317}"/>
                  </a:ext>
                </a:extLst>
              </p:cNvPr>
              <p:cNvSpPr/>
              <p:nvPr/>
            </p:nvSpPr>
            <p:spPr>
              <a:xfrm>
                <a:off x="2032386" y="5441315"/>
                <a:ext cx="2438400" cy="584200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BEFORE</a:t>
                </a:r>
                <a:endParaRPr kumimoji="0" lang="en-ID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45" name="Shape 131">
              <a:extLst>
                <a:ext uri="{FF2B5EF4-FFF2-40B4-BE49-F238E27FC236}">
                  <a16:creationId xmlns:a16="http://schemas.microsoft.com/office/drawing/2014/main" id="{45A83AE6-49D6-4B21-8EB1-2B89C8AAE71B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7">
              <a:alphaModFix/>
            </a:blip>
            <a:srcRect t="18724" b="13617"/>
            <a:stretch/>
          </p:blipFill>
          <p:spPr>
            <a:xfrm>
              <a:off x="1379505" y="2735813"/>
              <a:ext cx="3744161" cy="2329200"/>
            </a:xfrm>
            <a:prstGeom prst="rect">
              <a:avLst/>
            </a:prstGeom>
            <a:noFill/>
            <a:ln>
              <a:noFill/>
            </a:ln>
            <a:effectLst>
              <a:outerShdw blurRad="381000" dist="190500" dir="5400000" algn="tl" rotWithShape="0">
                <a:prstClr val="black">
                  <a:alpha val="13000"/>
                </a:prstClr>
              </a:outerShdw>
            </a:effectLst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ED35A69-CC49-44EA-A600-1304862D2936}"/>
              </a:ext>
            </a:extLst>
          </p:cNvPr>
          <p:cNvGrpSpPr/>
          <p:nvPr/>
        </p:nvGrpSpPr>
        <p:grpSpPr>
          <a:xfrm>
            <a:off x="6593786" y="2489200"/>
            <a:ext cx="4693260" cy="3937000"/>
            <a:chOff x="6593786" y="2489200"/>
            <a:chExt cx="4693260" cy="3937000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DD5A71F8-69B1-4888-AC14-982946131003}"/>
                </a:ext>
              </a:extLst>
            </p:cNvPr>
            <p:cNvGrpSpPr/>
            <p:nvPr/>
          </p:nvGrpSpPr>
          <p:grpSpPr>
            <a:xfrm>
              <a:off x="6593786" y="2489200"/>
              <a:ext cx="4693260" cy="3937000"/>
              <a:chOff x="6593786" y="2489200"/>
              <a:chExt cx="4693260" cy="3937000"/>
            </a:xfrm>
          </p:grpSpPr>
          <p:pic>
            <p:nvPicPr>
              <p:cNvPr id="51" name="Picture 50">
                <a:extLst>
                  <a:ext uri="{FF2B5EF4-FFF2-40B4-BE49-F238E27FC236}">
                    <a16:creationId xmlns:a16="http://schemas.microsoft.com/office/drawing/2014/main" id="{E255DE7B-C434-4B66-A67E-2421BF343F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93786" y="2489200"/>
                <a:ext cx="4693260" cy="3937000"/>
              </a:xfrm>
              <a:prstGeom prst="rect">
                <a:avLst/>
              </a:prstGeom>
            </p:spPr>
          </p:pic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546E99A8-FE8C-41C7-BEFD-C1822DC53960}"/>
                  </a:ext>
                </a:extLst>
              </p:cNvPr>
              <p:cNvSpPr/>
              <p:nvPr/>
            </p:nvSpPr>
            <p:spPr>
              <a:xfrm>
                <a:off x="7721216" y="5441315"/>
                <a:ext cx="2438400" cy="584200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AFTER</a:t>
                </a:r>
                <a:endParaRPr kumimoji="0" lang="en-ID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7F6BB373-A454-4ABC-BF17-95475BF48A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34" t="7987" r="14450" b="21513"/>
            <a:stretch/>
          </p:blipFill>
          <p:spPr>
            <a:xfrm>
              <a:off x="7006126" y="2751014"/>
              <a:ext cx="3956269" cy="2329200"/>
            </a:xfrm>
            <a:prstGeom prst="rect">
              <a:avLst/>
            </a:prstGeom>
          </p:spPr>
        </p:pic>
      </p:grp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648202"/>
            <a:ext cx="11362808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’ll take your presentation to new heights.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a sketch to a fully editable PowerPoint slide to share your big ideas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tángulo 3">
            <a:extLst>
              <a:ext uri="{FF2B5EF4-FFF2-40B4-BE49-F238E27FC236}">
                <a16:creationId xmlns:a16="http://schemas.microsoft.com/office/drawing/2014/main" id="{3B8DB81C-BE0D-47E7-A849-F8ECD5B8693F}"/>
              </a:ext>
            </a:extLst>
          </p:cNvPr>
          <p:cNvSpPr/>
          <p:nvPr/>
        </p:nvSpPr>
        <p:spPr>
          <a:xfrm>
            <a:off x="414596" y="1692426"/>
            <a:ext cx="113628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E FOR YOURSELF!</a:t>
            </a:r>
          </a:p>
        </p:txBody>
      </p:sp>
    </p:spTree>
    <p:extLst>
      <p:ext uri="{BB962C8B-B14F-4D97-AF65-F5344CB8AC3E}">
        <p14:creationId xmlns:p14="http://schemas.microsoft.com/office/powerpoint/2010/main" val="3043722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8F38126-25AF-464E-AB13-FE4602C248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-10650"/>
            <a:ext cx="8921915" cy="6868650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35453" y="4087"/>
            <a:ext cx="5021694" cy="2510847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9797062" y="5345299"/>
            <a:ext cx="3193249" cy="1596625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Rectángulo 3">
            <a:extLst>
              <a:ext uri="{FF2B5EF4-FFF2-40B4-BE49-F238E27FC236}">
                <a16:creationId xmlns:a16="http://schemas.microsoft.com/office/drawing/2014/main" id="{4DD79301-C8BD-4232-9663-26AC53A142F1}"/>
              </a:ext>
            </a:extLst>
          </p:cNvPr>
          <p:cNvSpPr/>
          <p:nvPr/>
        </p:nvSpPr>
        <p:spPr>
          <a:xfrm>
            <a:off x="5372100" y="1708318"/>
            <a:ext cx="649300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ur presentations are trusted by top companies, startups, and professionals from all around the world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1CC8556-2084-468F-80CB-35398F113E09}"/>
              </a:ext>
            </a:extLst>
          </p:cNvPr>
          <p:cNvGrpSpPr/>
          <p:nvPr/>
        </p:nvGrpSpPr>
        <p:grpSpPr>
          <a:xfrm>
            <a:off x="39646" y="1590261"/>
            <a:ext cx="7514092" cy="4891969"/>
            <a:chOff x="-66370" y="1478661"/>
            <a:chExt cx="7729852" cy="5003569"/>
          </a:xfrm>
        </p:grpSpPr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E7003D05-3DE9-407C-82CE-584E08ECD4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5525"/>
            <a:stretch/>
          </p:blipFill>
          <p:spPr>
            <a:xfrm>
              <a:off x="-66370" y="5006386"/>
              <a:ext cx="6493000" cy="592094"/>
            </a:xfrm>
            <a:prstGeom prst="rect">
              <a:avLst/>
            </a:prstGeom>
          </p:spPr>
        </p:pic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0E010BA1-ED0F-4779-BC75-E4D7E8C5044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4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76846" y="1699414"/>
              <a:ext cx="1588216" cy="1204398"/>
            </a:xfrm>
            <a:prstGeom prst="rect">
              <a:avLst/>
            </a:prstGeom>
          </p:spPr>
        </p:pic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08831B01-7884-4E0B-BCFD-FAFD70C1C1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3658" y="2052050"/>
              <a:ext cx="2361312" cy="838208"/>
            </a:xfrm>
            <a:prstGeom prst="rect">
              <a:avLst/>
            </a:prstGeom>
          </p:spPr>
        </p:pic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831E8415-88B6-4DFA-A283-6BCAB6D825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0260" b="30179"/>
            <a:stretch/>
          </p:blipFill>
          <p:spPr>
            <a:xfrm>
              <a:off x="196393" y="1478661"/>
              <a:ext cx="2020646" cy="418129"/>
            </a:xfrm>
            <a:prstGeom prst="rect">
              <a:avLst/>
            </a:prstGeom>
          </p:spPr>
        </p:pic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59473F03-7F16-4261-97D2-86D3E6193863}"/>
                </a:ext>
              </a:extLst>
            </p:cNvPr>
            <p:cNvGrpSpPr/>
            <p:nvPr/>
          </p:nvGrpSpPr>
          <p:grpSpPr>
            <a:xfrm>
              <a:off x="-66370" y="4053928"/>
              <a:ext cx="5330870" cy="664163"/>
              <a:chOff x="-66370" y="3988762"/>
              <a:chExt cx="5330870" cy="664163"/>
            </a:xfrm>
          </p:grpSpPr>
          <p:pic>
            <p:nvPicPr>
              <p:cNvPr id="85" name="Picture 84">
                <a:extLst>
                  <a:ext uri="{FF2B5EF4-FFF2-40B4-BE49-F238E27FC236}">
                    <a16:creationId xmlns:a16="http://schemas.microsoft.com/office/drawing/2014/main" id="{E97F1589-1EBD-4A0E-A948-2406E49723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lum bright="70000" contrast="-70000"/>
              </a:blip>
              <a:stretch>
                <a:fillRect/>
              </a:stretch>
            </p:blipFill>
            <p:spPr>
              <a:xfrm>
                <a:off x="1060754" y="4202054"/>
                <a:ext cx="1088191" cy="233827"/>
              </a:xfrm>
              <a:prstGeom prst="rect">
                <a:avLst/>
              </a:prstGeom>
            </p:spPr>
          </p:pic>
          <p:pic>
            <p:nvPicPr>
              <p:cNvPr id="88" name="Picture 87">
                <a:extLst>
                  <a:ext uri="{FF2B5EF4-FFF2-40B4-BE49-F238E27FC236}">
                    <a16:creationId xmlns:a16="http://schemas.microsoft.com/office/drawing/2014/main" id="{41119434-70A8-4A13-B916-B28EB5893D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59753" y="4189033"/>
                <a:ext cx="1704747" cy="246847"/>
              </a:xfrm>
              <a:prstGeom prst="rect">
                <a:avLst/>
              </a:prstGeom>
            </p:spPr>
          </p:pic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36721817-126E-47F5-8C49-2162B2459D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66370" y="3988762"/>
                <a:ext cx="885550" cy="664163"/>
              </a:xfrm>
              <a:prstGeom prst="rect">
                <a:avLst/>
              </a:prstGeom>
            </p:spPr>
          </p:pic>
          <p:pic>
            <p:nvPicPr>
              <p:cNvPr id="95" name="Picture 94">
                <a:extLst>
                  <a:ext uri="{FF2B5EF4-FFF2-40B4-BE49-F238E27FC236}">
                    <a16:creationId xmlns:a16="http://schemas.microsoft.com/office/drawing/2014/main" id="{D67179F8-1016-43DE-9EC0-FB2C6C9B39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90519" y="4202054"/>
                <a:ext cx="927659" cy="206868"/>
              </a:xfrm>
              <a:prstGeom prst="rect">
                <a:avLst/>
              </a:prstGeom>
            </p:spPr>
          </p:pic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6982EF1-2F5E-43D4-8D2B-ECB4E1C85EDF}"/>
                </a:ext>
              </a:extLst>
            </p:cNvPr>
            <p:cNvGrpSpPr/>
            <p:nvPr/>
          </p:nvGrpSpPr>
          <p:grpSpPr>
            <a:xfrm>
              <a:off x="124401" y="5886776"/>
              <a:ext cx="7539081" cy="595454"/>
              <a:chOff x="473434" y="5729229"/>
              <a:chExt cx="5472236" cy="432210"/>
            </a:xfrm>
          </p:grpSpPr>
          <p:pic>
            <p:nvPicPr>
              <p:cNvPr id="82" name="Picture 81">
                <a:extLst>
                  <a:ext uri="{FF2B5EF4-FFF2-40B4-BE49-F238E27FC236}">
                    <a16:creationId xmlns:a16="http://schemas.microsoft.com/office/drawing/2014/main" id="{95F25F83-9F54-42B1-9AE3-03FE003BCD3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7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0156"/>
              <a:stretch/>
            </p:blipFill>
            <p:spPr>
              <a:xfrm>
                <a:off x="2026920" y="5729229"/>
                <a:ext cx="3918750" cy="432210"/>
              </a:xfrm>
              <a:prstGeom prst="rect">
                <a:avLst/>
              </a:prstGeom>
            </p:spPr>
          </p:pic>
          <p:pic>
            <p:nvPicPr>
              <p:cNvPr id="6193" name="Picture 49" descr="Molson Coors Brewing Company - AnnualReports.com">
                <a:extLst>
                  <a:ext uri="{FF2B5EF4-FFF2-40B4-BE49-F238E27FC236}">
                    <a16:creationId xmlns:a16="http://schemas.microsoft.com/office/drawing/2014/main" id="{9CF270DE-ACF7-4437-94AA-163558631D2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8">
                <a:alphaModFix amt="60000"/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9">
                        <a14:imgEffect>
                          <a14:brightnessContrast bright="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914" t="26676" r="21728" b="31151"/>
              <a:stretch/>
            </p:blipFill>
            <p:spPr bwMode="auto">
              <a:xfrm>
                <a:off x="473434" y="5794252"/>
                <a:ext cx="1211390" cy="30216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8C6103B-F5E6-4267-8C81-4B32F71C0971}"/>
                </a:ext>
              </a:extLst>
            </p:cNvPr>
            <p:cNvGrpSpPr/>
            <p:nvPr/>
          </p:nvGrpSpPr>
          <p:grpSpPr>
            <a:xfrm>
              <a:off x="97301" y="3192107"/>
              <a:ext cx="4863805" cy="573526"/>
              <a:chOff x="97301" y="3213381"/>
              <a:chExt cx="5021270" cy="592094"/>
            </a:xfrm>
          </p:grpSpPr>
          <p:pic>
            <p:nvPicPr>
              <p:cNvPr id="87" name="Picture 86">
                <a:extLst>
                  <a:ext uri="{FF2B5EF4-FFF2-40B4-BE49-F238E27FC236}">
                    <a16:creationId xmlns:a16="http://schemas.microsoft.com/office/drawing/2014/main" id="{FAD77674-BBCB-4D5D-B867-6452DCFC956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0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667" t="28593" r="16619" b="28061"/>
              <a:stretch/>
            </p:blipFill>
            <p:spPr>
              <a:xfrm>
                <a:off x="97301" y="3289073"/>
                <a:ext cx="1442867" cy="440711"/>
              </a:xfrm>
              <a:prstGeom prst="rect">
                <a:avLst/>
              </a:prstGeom>
            </p:spPr>
          </p:pic>
          <p:pic>
            <p:nvPicPr>
              <p:cNvPr id="84" name="Picture 83">
                <a:extLst>
                  <a:ext uri="{FF2B5EF4-FFF2-40B4-BE49-F238E27FC236}">
                    <a16:creationId xmlns:a16="http://schemas.microsoft.com/office/drawing/2014/main" id="{369D8908-1DF4-447C-B4AF-60393612FF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lum bright="70000" contrast="-70000"/>
              </a:blip>
              <a:stretch>
                <a:fillRect/>
              </a:stretch>
            </p:blipFill>
            <p:spPr>
              <a:xfrm>
                <a:off x="1634978" y="3407291"/>
                <a:ext cx="691397" cy="204275"/>
              </a:xfrm>
              <a:prstGeom prst="rect">
                <a:avLst/>
              </a:prstGeom>
            </p:spPr>
          </p:pic>
          <p:pic>
            <p:nvPicPr>
              <p:cNvPr id="92" name="Picture 91">
                <a:extLst>
                  <a:ext uri="{FF2B5EF4-FFF2-40B4-BE49-F238E27FC236}">
                    <a16:creationId xmlns:a16="http://schemas.microsoft.com/office/drawing/2014/main" id="{4F0928C4-7A31-475A-AF4A-40EE1D8773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lum bright="70000" contrast="-70000"/>
              </a:blip>
              <a:stretch>
                <a:fillRect/>
              </a:stretch>
            </p:blipFill>
            <p:spPr>
              <a:xfrm>
                <a:off x="2421185" y="3303615"/>
                <a:ext cx="1571443" cy="411627"/>
              </a:xfrm>
              <a:prstGeom prst="rect">
                <a:avLst/>
              </a:prstGeom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15769841-B49C-4F27-8DA9-E07ECC506E1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5911" r="673"/>
              <a:stretch/>
            </p:blipFill>
            <p:spPr>
              <a:xfrm>
                <a:off x="4087438" y="3213381"/>
                <a:ext cx="1031133" cy="592094"/>
              </a:xfrm>
              <a:prstGeom prst="rect">
                <a:avLst/>
              </a:prstGeom>
            </p:spPr>
          </p:pic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ACA4A3A-8DC4-41BC-A7E5-431E97001DB2}"/>
              </a:ext>
            </a:extLst>
          </p:cNvPr>
          <p:cNvGrpSpPr/>
          <p:nvPr/>
        </p:nvGrpSpPr>
        <p:grpSpPr>
          <a:xfrm>
            <a:off x="6437917" y="4014556"/>
            <a:ext cx="346075" cy="344488"/>
            <a:chOff x="7726363" y="446088"/>
            <a:chExt cx="346075" cy="344488"/>
          </a:xfrm>
        </p:grpSpPr>
        <p:sp>
          <p:nvSpPr>
            <p:cNvPr id="30" name="Oval 25">
              <a:extLst>
                <a:ext uri="{FF2B5EF4-FFF2-40B4-BE49-F238E27FC236}">
                  <a16:creationId xmlns:a16="http://schemas.microsoft.com/office/drawing/2014/main" id="{F6918202-ED06-44D4-B4E2-28CB6B5049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6363" y="446088"/>
              <a:ext cx="346075" cy="34448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5306C586-1C22-4C65-90FF-B3EBB4B7E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520701"/>
              <a:ext cx="107950" cy="195263"/>
            </a:xfrm>
            <a:custGeom>
              <a:avLst/>
              <a:gdLst>
                <a:gd name="T0" fmla="*/ 29 w 29"/>
                <a:gd name="T1" fmla="*/ 16 h 52"/>
                <a:gd name="T2" fmla="*/ 20 w 29"/>
                <a:gd name="T3" fmla="*/ 16 h 52"/>
                <a:gd name="T4" fmla="*/ 20 w 29"/>
                <a:gd name="T5" fmla="*/ 12 h 52"/>
                <a:gd name="T6" fmla="*/ 22 w 29"/>
                <a:gd name="T7" fmla="*/ 9 h 52"/>
                <a:gd name="T8" fmla="*/ 28 w 29"/>
                <a:gd name="T9" fmla="*/ 9 h 52"/>
                <a:gd name="T10" fmla="*/ 28 w 29"/>
                <a:gd name="T11" fmla="*/ 0 h 52"/>
                <a:gd name="T12" fmla="*/ 19 w 29"/>
                <a:gd name="T13" fmla="*/ 0 h 52"/>
                <a:gd name="T14" fmla="*/ 8 w 29"/>
                <a:gd name="T15" fmla="*/ 11 h 52"/>
                <a:gd name="T16" fmla="*/ 8 w 29"/>
                <a:gd name="T17" fmla="*/ 16 h 52"/>
                <a:gd name="T18" fmla="*/ 0 w 29"/>
                <a:gd name="T19" fmla="*/ 16 h 52"/>
                <a:gd name="T20" fmla="*/ 0 w 29"/>
                <a:gd name="T21" fmla="*/ 24 h 52"/>
                <a:gd name="T22" fmla="*/ 8 w 29"/>
                <a:gd name="T23" fmla="*/ 24 h 52"/>
                <a:gd name="T24" fmla="*/ 8 w 29"/>
                <a:gd name="T25" fmla="*/ 52 h 52"/>
                <a:gd name="T26" fmla="*/ 20 w 29"/>
                <a:gd name="T27" fmla="*/ 52 h 52"/>
                <a:gd name="T28" fmla="*/ 20 w 29"/>
                <a:gd name="T29" fmla="*/ 24 h 52"/>
                <a:gd name="T30" fmla="*/ 28 w 29"/>
                <a:gd name="T31" fmla="*/ 24 h 52"/>
                <a:gd name="T32" fmla="*/ 29 w 29"/>
                <a:gd name="T33" fmla="*/ 1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" h="52">
                  <a:moveTo>
                    <a:pt x="29" y="1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0"/>
                    <a:pt x="21" y="9"/>
                    <a:pt x="22" y="9"/>
                  </a:cubicBezTo>
                  <a:cubicBezTo>
                    <a:pt x="23" y="9"/>
                    <a:pt x="28" y="9"/>
                    <a:pt x="28" y="9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9" y="0"/>
                    <a:pt x="8" y="7"/>
                    <a:pt x="8" y="11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36"/>
                    <a:pt x="8" y="52"/>
                    <a:pt x="8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36"/>
                    <a:pt x="20" y="24"/>
                  </a:cubicBezTo>
                  <a:cubicBezTo>
                    <a:pt x="28" y="24"/>
                    <a:pt x="28" y="24"/>
                    <a:pt x="28" y="24"/>
                  </a:cubicBezTo>
                  <a:lnTo>
                    <a:pt x="29" y="16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2" name="Rectángulo 3">
            <a:extLst>
              <a:ext uri="{FF2B5EF4-FFF2-40B4-BE49-F238E27FC236}">
                <a16:creationId xmlns:a16="http://schemas.microsoft.com/office/drawing/2014/main" id="{5BC6DD4F-FF26-4D62-B0C9-660DEC816C43}"/>
              </a:ext>
            </a:extLst>
          </p:cNvPr>
          <p:cNvSpPr/>
          <p:nvPr/>
        </p:nvSpPr>
        <p:spPr>
          <a:xfrm>
            <a:off x="6819807" y="4019183"/>
            <a:ext cx="1218937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acebook</a:t>
            </a:r>
          </a:p>
        </p:txBody>
      </p:sp>
      <p:sp>
        <p:nvSpPr>
          <p:cNvPr id="33" name="Oval 25">
            <a:extLst>
              <a:ext uri="{FF2B5EF4-FFF2-40B4-BE49-F238E27FC236}">
                <a16:creationId xmlns:a16="http://schemas.microsoft.com/office/drawing/2014/main" id="{2A4565F5-9FBD-41C1-9F5A-7AEBA118C5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2822" y="4014556"/>
            <a:ext cx="346075" cy="344488"/>
          </a:xfrm>
          <a:prstGeom prst="ellipse">
            <a:avLst/>
          </a:prstGeom>
          <a:noFill/>
          <a:ln w="1428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Rectángulo 3">
            <a:extLst>
              <a:ext uri="{FF2B5EF4-FFF2-40B4-BE49-F238E27FC236}">
                <a16:creationId xmlns:a16="http://schemas.microsoft.com/office/drawing/2014/main" id="{27924DC7-70A5-44BD-A6B7-5D56E7A3A6B6}"/>
              </a:ext>
            </a:extLst>
          </p:cNvPr>
          <p:cNvSpPr/>
          <p:nvPr/>
        </p:nvSpPr>
        <p:spPr>
          <a:xfrm>
            <a:off x="8734712" y="4019183"/>
            <a:ext cx="1218937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ustpilot</a:t>
            </a:r>
          </a:p>
        </p:txBody>
      </p:sp>
      <p:sp>
        <p:nvSpPr>
          <p:cNvPr id="35" name="Oval 25">
            <a:extLst>
              <a:ext uri="{FF2B5EF4-FFF2-40B4-BE49-F238E27FC236}">
                <a16:creationId xmlns:a16="http://schemas.microsoft.com/office/drawing/2014/main" id="{B909E656-EDB6-49DD-989A-3722DAA84E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33317" y="4014556"/>
            <a:ext cx="346075" cy="344488"/>
          </a:xfrm>
          <a:prstGeom prst="ellipse">
            <a:avLst/>
          </a:prstGeom>
          <a:noFill/>
          <a:ln w="1428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Rectángulo 3">
            <a:extLst>
              <a:ext uri="{FF2B5EF4-FFF2-40B4-BE49-F238E27FC236}">
                <a16:creationId xmlns:a16="http://schemas.microsoft.com/office/drawing/2014/main" id="{26D9886B-0F52-4145-9A3F-6DA9072390F3}"/>
              </a:ext>
            </a:extLst>
          </p:cNvPr>
          <p:cNvSpPr/>
          <p:nvPr/>
        </p:nvSpPr>
        <p:spPr>
          <a:xfrm>
            <a:off x="10515207" y="3911462"/>
            <a:ext cx="1218937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stomer Rating</a:t>
            </a:r>
          </a:p>
        </p:txBody>
      </p:sp>
      <p:sp>
        <p:nvSpPr>
          <p:cNvPr id="37" name="Freeform 279">
            <a:extLst>
              <a:ext uri="{FF2B5EF4-FFF2-40B4-BE49-F238E27FC236}">
                <a16:creationId xmlns:a16="http://schemas.microsoft.com/office/drawing/2014/main" id="{31C384BC-65FF-4695-B131-73E32234E3E0}"/>
              </a:ext>
            </a:extLst>
          </p:cNvPr>
          <p:cNvSpPr>
            <a:spLocks noEditPoints="1"/>
          </p:cNvSpPr>
          <p:nvPr/>
        </p:nvSpPr>
        <p:spPr bwMode="auto">
          <a:xfrm>
            <a:off x="8425521" y="4087020"/>
            <a:ext cx="200676" cy="199560"/>
          </a:xfrm>
          <a:custGeom>
            <a:avLst/>
            <a:gdLst>
              <a:gd name="T0" fmla="*/ 608 w 897"/>
              <a:gd name="T1" fmla="*/ 525 h 897"/>
              <a:gd name="T2" fmla="*/ 604 w 897"/>
              <a:gd name="T3" fmla="*/ 534 h 897"/>
              <a:gd name="T4" fmla="*/ 705 w 897"/>
              <a:gd name="T5" fmla="*/ 843 h 897"/>
              <a:gd name="T6" fmla="*/ 454 w 897"/>
              <a:gd name="T7" fmla="*/ 659 h 897"/>
              <a:gd name="T8" fmla="*/ 445 w 897"/>
              <a:gd name="T9" fmla="*/ 659 h 897"/>
              <a:gd name="T10" fmla="*/ 195 w 897"/>
              <a:gd name="T11" fmla="*/ 843 h 897"/>
              <a:gd name="T12" fmla="*/ 294 w 897"/>
              <a:gd name="T13" fmla="*/ 543 h 897"/>
              <a:gd name="T14" fmla="*/ 292 w 897"/>
              <a:gd name="T15" fmla="*/ 535 h 897"/>
              <a:gd name="T16" fmla="*/ 60 w 897"/>
              <a:gd name="T17" fmla="*/ 359 h 897"/>
              <a:gd name="T18" fmla="*/ 349 w 897"/>
              <a:gd name="T19" fmla="*/ 358 h 897"/>
              <a:gd name="T20" fmla="*/ 356 w 897"/>
              <a:gd name="T21" fmla="*/ 353 h 897"/>
              <a:gd name="T22" fmla="*/ 449 w 897"/>
              <a:gd name="T23" fmla="*/ 65 h 897"/>
              <a:gd name="T24" fmla="*/ 541 w 897"/>
              <a:gd name="T25" fmla="*/ 353 h 897"/>
              <a:gd name="T26" fmla="*/ 549 w 897"/>
              <a:gd name="T27" fmla="*/ 358 h 897"/>
              <a:gd name="T28" fmla="*/ 836 w 897"/>
              <a:gd name="T29" fmla="*/ 359 h 897"/>
              <a:gd name="T30" fmla="*/ 897 w 897"/>
              <a:gd name="T31" fmla="*/ 340 h 897"/>
              <a:gd name="T32" fmla="*/ 891 w 897"/>
              <a:gd name="T33" fmla="*/ 333 h 897"/>
              <a:gd name="T34" fmla="*/ 882 w 897"/>
              <a:gd name="T35" fmla="*/ 330 h 897"/>
              <a:gd name="T36" fmla="*/ 463 w 897"/>
              <a:gd name="T37" fmla="*/ 11 h 897"/>
              <a:gd name="T38" fmla="*/ 458 w 897"/>
              <a:gd name="T39" fmla="*/ 3 h 897"/>
              <a:gd name="T40" fmla="*/ 449 w 897"/>
              <a:gd name="T41" fmla="*/ 0 h 897"/>
              <a:gd name="T42" fmla="*/ 441 w 897"/>
              <a:gd name="T43" fmla="*/ 3 h 897"/>
              <a:gd name="T44" fmla="*/ 435 w 897"/>
              <a:gd name="T45" fmla="*/ 11 h 897"/>
              <a:gd name="T46" fmla="*/ 15 w 897"/>
              <a:gd name="T47" fmla="*/ 330 h 897"/>
              <a:gd name="T48" fmla="*/ 7 w 897"/>
              <a:gd name="T49" fmla="*/ 333 h 897"/>
              <a:gd name="T50" fmla="*/ 1 w 897"/>
              <a:gd name="T51" fmla="*/ 340 h 897"/>
              <a:gd name="T52" fmla="*/ 1 w 897"/>
              <a:gd name="T53" fmla="*/ 349 h 897"/>
              <a:gd name="T54" fmla="*/ 7 w 897"/>
              <a:gd name="T55" fmla="*/ 356 h 897"/>
              <a:gd name="T56" fmla="*/ 151 w 897"/>
              <a:gd name="T57" fmla="*/ 878 h 897"/>
              <a:gd name="T58" fmla="*/ 151 w 897"/>
              <a:gd name="T59" fmla="*/ 887 h 897"/>
              <a:gd name="T60" fmla="*/ 156 w 897"/>
              <a:gd name="T61" fmla="*/ 895 h 897"/>
              <a:gd name="T62" fmla="*/ 165 w 897"/>
              <a:gd name="T63" fmla="*/ 897 h 897"/>
              <a:gd name="T64" fmla="*/ 175 w 897"/>
              <a:gd name="T65" fmla="*/ 894 h 897"/>
              <a:gd name="T66" fmla="*/ 724 w 897"/>
              <a:gd name="T67" fmla="*/ 894 h 897"/>
              <a:gd name="T68" fmla="*/ 733 w 897"/>
              <a:gd name="T69" fmla="*/ 897 h 897"/>
              <a:gd name="T70" fmla="*/ 742 w 897"/>
              <a:gd name="T71" fmla="*/ 895 h 897"/>
              <a:gd name="T72" fmla="*/ 748 w 897"/>
              <a:gd name="T73" fmla="*/ 888 h 897"/>
              <a:gd name="T74" fmla="*/ 748 w 897"/>
              <a:gd name="T75" fmla="*/ 878 h 897"/>
              <a:gd name="T76" fmla="*/ 891 w 897"/>
              <a:gd name="T77" fmla="*/ 356 h 897"/>
              <a:gd name="T78" fmla="*/ 897 w 897"/>
              <a:gd name="T79" fmla="*/ 349 h 897"/>
              <a:gd name="T80" fmla="*/ 897 w 897"/>
              <a:gd name="T81" fmla="*/ 340 h 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97" h="897">
                <a:moveTo>
                  <a:pt x="611" y="522"/>
                </a:moveTo>
                <a:lnTo>
                  <a:pt x="608" y="525"/>
                </a:lnTo>
                <a:lnTo>
                  <a:pt x="605" y="530"/>
                </a:lnTo>
                <a:lnTo>
                  <a:pt x="604" y="534"/>
                </a:lnTo>
                <a:lnTo>
                  <a:pt x="605" y="539"/>
                </a:lnTo>
                <a:lnTo>
                  <a:pt x="705" y="843"/>
                </a:lnTo>
                <a:lnTo>
                  <a:pt x="458" y="661"/>
                </a:lnTo>
                <a:lnTo>
                  <a:pt x="454" y="659"/>
                </a:lnTo>
                <a:lnTo>
                  <a:pt x="449" y="659"/>
                </a:lnTo>
                <a:lnTo>
                  <a:pt x="445" y="659"/>
                </a:lnTo>
                <a:lnTo>
                  <a:pt x="441" y="661"/>
                </a:lnTo>
                <a:lnTo>
                  <a:pt x="195" y="843"/>
                </a:lnTo>
                <a:lnTo>
                  <a:pt x="293" y="548"/>
                </a:lnTo>
                <a:lnTo>
                  <a:pt x="294" y="543"/>
                </a:lnTo>
                <a:lnTo>
                  <a:pt x="294" y="539"/>
                </a:lnTo>
                <a:lnTo>
                  <a:pt x="292" y="535"/>
                </a:lnTo>
                <a:lnTo>
                  <a:pt x="289" y="532"/>
                </a:lnTo>
                <a:lnTo>
                  <a:pt x="60" y="359"/>
                </a:lnTo>
                <a:lnTo>
                  <a:pt x="345" y="359"/>
                </a:lnTo>
                <a:lnTo>
                  <a:pt x="349" y="358"/>
                </a:lnTo>
                <a:lnTo>
                  <a:pt x="353" y="356"/>
                </a:lnTo>
                <a:lnTo>
                  <a:pt x="356" y="353"/>
                </a:lnTo>
                <a:lnTo>
                  <a:pt x="358" y="349"/>
                </a:lnTo>
                <a:lnTo>
                  <a:pt x="449" y="65"/>
                </a:lnTo>
                <a:lnTo>
                  <a:pt x="539" y="349"/>
                </a:lnTo>
                <a:lnTo>
                  <a:pt x="541" y="353"/>
                </a:lnTo>
                <a:lnTo>
                  <a:pt x="545" y="356"/>
                </a:lnTo>
                <a:lnTo>
                  <a:pt x="549" y="358"/>
                </a:lnTo>
                <a:lnTo>
                  <a:pt x="554" y="359"/>
                </a:lnTo>
                <a:lnTo>
                  <a:pt x="836" y="359"/>
                </a:lnTo>
                <a:lnTo>
                  <a:pt x="611" y="522"/>
                </a:lnTo>
                <a:close/>
                <a:moveTo>
                  <a:pt x="897" y="340"/>
                </a:moveTo>
                <a:lnTo>
                  <a:pt x="895" y="336"/>
                </a:lnTo>
                <a:lnTo>
                  <a:pt x="891" y="333"/>
                </a:lnTo>
                <a:lnTo>
                  <a:pt x="888" y="331"/>
                </a:lnTo>
                <a:lnTo>
                  <a:pt x="882" y="330"/>
                </a:lnTo>
                <a:lnTo>
                  <a:pt x="565" y="330"/>
                </a:lnTo>
                <a:lnTo>
                  <a:pt x="463" y="11"/>
                </a:lnTo>
                <a:lnTo>
                  <a:pt x="461" y="7"/>
                </a:lnTo>
                <a:lnTo>
                  <a:pt x="458" y="3"/>
                </a:lnTo>
                <a:lnTo>
                  <a:pt x="454" y="1"/>
                </a:lnTo>
                <a:lnTo>
                  <a:pt x="449" y="0"/>
                </a:lnTo>
                <a:lnTo>
                  <a:pt x="444" y="1"/>
                </a:lnTo>
                <a:lnTo>
                  <a:pt x="441" y="3"/>
                </a:lnTo>
                <a:lnTo>
                  <a:pt x="438" y="7"/>
                </a:lnTo>
                <a:lnTo>
                  <a:pt x="435" y="11"/>
                </a:lnTo>
                <a:lnTo>
                  <a:pt x="334" y="330"/>
                </a:lnTo>
                <a:lnTo>
                  <a:pt x="15" y="330"/>
                </a:lnTo>
                <a:lnTo>
                  <a:pt x="11" y="331"/>
                </a:lnTo>
                <a:lnTo>
                  <a:pt x="7" y="333"/>
                </a:lnTo>
                <a:lnTo>
                  <a:pt x="3" y="336"/>
                </a:lnTo>
                <a:lnTo>
                  <a:pt x="1" y="340"/>
                </a:lnTo>
                <a:lnTo>
                  <a:pt x="0" y="344"/>
                </a:lnTo>
                <a:lnTo>
                  <a:pt x="1" y="349"/>
                </a:lnTo>
                <a:lnTo>
                  <a:pt x="3" y="353"/>
                </a:lnTo>
                <a:lnTo>
                  <a:pt x="7" y="356"/>
                </a:lnTo>
                <a:lnTo>
                  <a:pt x="262" y="549"/>
                </a:lnTo>
                <a:lnTo>
                  <a:pt x="151" y="878"/>
                </a:lnTo>
                <a:lnTo>
                  <a:pt x="150" y="882"/>
                </a:lnTo>
                <a:lnTo>
                  <a:pt x="151" y="887"/>
                </a:lnTo>
                <a:lnTo>
                  <a:pt x="153" y="891"/>
                </a:lnTo>
                <a:lnTo>
                  <a:pt x="156" y="895"/>
                </a:lnTo>
                <a:lnTo>
                  <a:pt x="161" y="897"/>
                </a:lnTo>
                <a:lnTo>
                  <a:pt x="165" y="897"/>
                </a:lnTo>
                <a:lnTo>
                  <a:pt x="170" y="897"/>
                </a:lnTo>
                <a:lnTo>
                  <a:pt x="175" y="894"/>
                </a:lnTo>
                <a:lnTo>
                  <a:pt x="449" y="692"/>
                </a:lnTo>
                <a:lnTo>
                  <a:pt x="724" y="894"/>
                </a:lnTo>
                <a:lnTo>
                  <a:pt x="728" y="896"/>
                </a:lnTo>
                <a:lnTo>
                  <a:pt x="733" y="897"/>
                </a:lnTo>
                <a:lnTo>
                  <a:pt x="738" y="897"/>
                </a:lnTo>
                <a:lnTo>
                  <a:pt x="742" y="895"/>
                </a:lnTo>
                <a:lnTo>
                  <a:pt x="746" y="891"/>
                </a:lnTo>
                <a:lnTo>
                  <a:pt x="748" y="888"/>
                </a:lnTo>
                <a:lnTo>
                  <a:pt x="748" y="882"/>
                </a:lnTo>
                <a:lnTo>
                  <a:pt x="748" y="878"/>
                </a:lnTo>
                <a:lnTo>
                  <a:pt x="638" y="539"/>
                </a:lnTo>
                <a:lnTo>
                  <a:pt x="891" y="356"/>
                </a:lnTo>
                <a:lnTo>
                  <a:pt x="895" y="353"/>
                </a:lnTo>
                <a:lnTo>
                  <a:pt x="897" y="349"/>
                </a:lnTo>
                <a:lnTo>
                  <a:pt x="897" y="344"/>
                </a:lnTo>
                <a:lnTo>
                  <a:pt x="897" y="3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F2A8472-0842-4867-B4F4-2462AB16ACE9}"/>
              </a:ext>
            </a:extLst>
          </p:cNvPr>
          <p:cNvGrpSpPr/>
          <p:nvPr/>
        </p:nvGrpSpPr>
        <p:grpSpPr>
          <a:xfrm>
            <a:off x="10204144" y="4094690"/>
            <a:ext cx="212562" cy="184220"/>
            <a:chOff x="4892675" y="1935163"/>
            <a:chExt cx="285750" cy="247650"/>
          </a:xfrm>
          <a:solidFill>
            <a:schemeClr val="bg1"/>
          </a:solidFill>
        </p:grpSpPr>
        <p:sp>
          <p:nvSpPr>
            <p:cNvPr id="39" name="Freeform 185">
              <a:extLst>
                <a:ext uri="{FF2B5EF4-FFF2-40B4-BE49-F238E27FC236}">
                  <a16:creationId xmlns:a16="http://schemas.microsoft.com/office/drawing/2014/main" id="{F116A1E1-79F3-4107-BB46-C65453E5D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2675" y="2020888"/>
              <a:ext cx="66675" cy="114300"/>
            </a:xfrm>
            <a:custGeom>
              <a:avLst/>
              <a:gdLst>
                <a:gd name="T0" fmla="*/ 30 w 210"/>
                <a:gd name="T1" fmla="*/ 30 h 360"/>
                <a:gd name="T2" fmla="*/ 180 w 210"/>
                <a:gd name="T3" fmla="*/ 30 h 360"/>
                <a:gd name="T4" fmla="*/ 180 w 210"/>
                <a:gd name="T5" fmla="*/ 123 h 360"/>
                <a:gd name="T6" fmla="*/ 180 w 210"/>
                <a:gd name="T7" fmla="*/ 135 h 360"/>
                <a:gd name="T8" fmla="*/ 180 w 210"/>
                <a:gd name="T9" fmla="*/ 146 h 360"/>
                <a:gd name="T10" fmla="*/ 179 w 210"/>
                <a:gd name="T11" fmla="*/ 157 h 360"/>
                <a:gd name="T12" fmla="*/ 177 w 210"/>
                <a:gd name="T13" fmla="*/ 167 h 360"/>
                <a:gd name="T14" fmla="*/ 174 w 210"/>
                <a:gd name="T15" fmla="*/ 175 h 360"/>
                <a:gd name="T16" fmla="*/ 171 w 210"/>
                <a:gd name="T17" fmla="*/ 178 h 360"/>
                <a:gd name="T18" fmla="*/ 168 w 210"/>
                <a:gd name="T19" fmla="*/ 180 h 360"/>
                <a:gd name="T20" fmla="*/ 165 w 210"/>
                <a:gd name="T21" fmla="*/ 180 h 360"/>
                <a:gd name="T22" fmla="*/ 150 w 210"/>
                <a:gd name="T23" fmla="*/ 180 h 360"/>
                <a:gd name="T24" fmla="*/ 150 w 210"/>
                <a:gd name="T25" fmla="*/ 330 h 360"/>
                <a:gd name="T26" fmla="*/ 60 w 210"/>
                <a:gd name="T27" fmla="*/ 330 h 360"/>
                <a:gd name="T28" fmla="*/ 60 w 210"/>
                <a:gd name="T29" fmla="*/ 180 h 360"/>
                <a:gd name="T30" fmla="*/ 45 w 210"/>
                <a:gd name="T31" fmla="*/ 180 h 360"/>
                <a:gd name="T32" fmla="*/ 40 w 210"/>
                <a:gd name="T33" fmla="*/ 179 h 360"/>
                <a:gd name="T34" fmla="*/ 38 w 210"/>
                <a:gd name="T35" fmla="*/ 178 h 360"/>
                <a:gd name="T36" fmla="*/ 35 w 210"/>
                <a:gd name="T37" fmla="*/ 173 h 360"/>
                <a:gd name="T38" fmla="*/ 33 w 210"/>
                <a:gd name="T39" fmla="*/ 168 h 360"/>
                <a:gd name="T40" fmla="*/ 32 w 210"/>
                <a:gd name="T41" fmla="*/ 162 h 360"/>
                <a:gd name="T42" fmla="*/ 31 w 210"/>
                <a:gd name="T43" fmla="*/ 154 h 360"/>
                <a:gd name="T44" fmla="*/ 30 w 210"/>
                <a:gd name="T45" fmla="*/ 138 h 360"/>
                <a:gd name="T46" fmla="*/ 30 w 210"/>
                <a:gd name="T47" fmla="*/ 123 h 360"/>
                <a:gd name="T48" fmla="*/ 30 w 210"/>
                <a:gd name="T49" fmla="*/ 30 h 360"/>
                <a:gd name="T50" fmla="*/ 0 w 210"/>
                <a:gd name="T51" fmla="*/ 123 h 360"/>
                <a:gd name="T52" fmla="*/ 0 w 210"/>
                <a:gd name="T53" fmla="*/ 143 h 360"/>
                <a:gd name="T54" fmla="*/ 2 w 210"/>
                <a:gd name="T55" fmla="*/ 164 h 360"/>
                <a:gd name="T56" fmla="*/ 4 w 210"/>
                <a:gd name="T57" fmla="*/ 175 h 360"/>
                <a:gd name="T58" fmla="*/ 7 w 210"/>
                <a:gd name="T59" fmla="*/ 183 h 360"/>
                <a:gd name="T60" fmla="*/ 12 w 210"/>
                <a:gd name="T61" fmla="*/ 192 h 360"/>
                <a:gd name="T62" fmla="*/ 17 w 210"/>
                <a:gd name="T63" fmla="*/ 199 h 360"/>
                <a:gd name="T64" fmla="*/ 23 w 210"/>
                <a:gd name="T65" fmla="*/ 203 h 360"/>
                <a:gd name="T66" fmla="*/ 30 w 210"/>
                <a:gd name="T67" fmla="*/ 208 h 360"/>
                <a:gd name="T68" fmla="*/ 30 w 210"/>
                <a:gd name="T69" fmla="*/ 360 h 360"/>
                <a:gd name="T70" fmla="*/ 180 w 210"/>
                <a:gd name="T71" fmla="*/ 360 h 360"/>
                <a:gd name="T72" fmla="*/ 180 w 210"/>
                <a:gd name="T73" fmla="*/ 208 h 360"/>
                <a:gd name="T74" fmla="*/ 184 w 210"/>
                <a:gd name="T75" fmla="*/ 206 h 360"/>
                <a:gd name="T76" fmla="*/ 187 w 210"/>
                <a:gd name="T77" fmla="*/ 203 h 360"/>
                <a:gd name="T78" fmla="*/ 192 w 210"/>
                <a:gd name="T79" fmla="*/ 200 h 360"/>
                <a:gd name="T80" fmla="*/ 195 w 210"/>
                <a:gd name="T81" fmla="*/ 197 h 360"/>
                <a:gd name="T82" fmla="*/ 198 w 210"/>
                <a:gd name="T83" fmla="*/ 193 h 360"/>
                <a:gd name="T84" fmla="*/ 201 w 210"/>
                <a:gd name="T85" fmla="*/ 187 h 360"/>
                <a:gd name="T86" fmla="*/ 203 w 210"/>
                <a:gd name="T87" fmla="*/ 181 h 360"/>
                <a:gd name="T88" fmla="*/ 206 w 210"/>
                <a:gd name="T89" fmla="*/ 175 h 360"/>
                <a:gd name="T90" fmla="*/ 209 w 210"/>
                <a:gd name="T91" fmla="*/ 162 h 360"/>
                <a:gd name="T92" fmla="*/ 210 w 210"/>
                <a:gd name="T93" fmla="*/ 149 h 360"/>
                <a:gd name="T94" fmla="*/ 210 w 210"/>
                <a:gd name="T95" fmla="*/ 136 h 360"/>
                <a:gd name="T96" fmla="*/ 210 w 210"/>
                <a:gd name="T97" fmla="*/ 123 h 360"/>
                <a:gd name="T98" fmla="*/ 210 w 210"/>
                <a:gd name="T99" fmla="*/ 0 h 360"/>
                <a:gd name="T100" fmla="*/ 0 w 210"/>
                <a:gd name="T101" fmla="*/ 0 h 360"/>
                <a:gd name="T102" fmla="*/ 0 w 210"/>
                <a:gd name="T103" fmla="*/ 12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0" h="360">
                  <a:moveTo>
                    <a:pt x="30" y="30"/>
                  </a:moveTo>
                  <a:lnTo>
                    <a:pt x="180" y="30"/>
                  </a:lnTo>
                  <a:lnTo>
                    <a:pt x="180" y="123"/>
                  </a:lnTo>
                  <a:lnTo>
                    <a:pt x="180" y="135"/>
                  </a:lnTo>
                  <a:lnTo>
                    <a:pt x="180" y="146"/>
                  </a:lnTo>
                  <a:lnTo>
                    <a:pt x="179" y="157"/>
                  </a:lnTo>
                  <a:lnTo>
                    <a:pt x="177" y="167"/>
                  </a:lnTo>
                  <a:lnTo>
                    <a:pt x="174" y="175"/>
                  </a:lnTo>
                  <a:lnTo>
                    <a:pt x="171" y="178"/>
                  </a:lnTo>
                  <a:lnTo>
                    <a:pt x="168" y="180"/>
                  </a:lnTo>
                  <a:lnTo>
                    <a:pt x="165" y="180"/>
                  </a:lnTo>
                  <a:lnTo>
                    <a:pt x="150" y="180"/>
                  </a:lnTo>
                  <a:lnTo>
                    <a:pt x="150" y="330"/>
                  </a:lnTo>
                  <a:lnTo>
                    <a:pt x="60" y="330"/>
                  </a:lnTo>
                  <a:lnTo>
                    <a:pt x="60" y="180"/>
                  </a:lnTo>
                  <a:lnTo>
                    <a:pt x="45" y="180"/>
                  </a:lnTo>
                  <a:lnTo>
                    <a:pt x="40" y="179"/>
                  </a:lnTo>
                  <a:lnTo>
                    <a:pt x="38" y="178"/>
                  </a:lnTo>
                  <a:lnTo>
                    <a:pt x="35" y="173"/>
                  </a:lnTo>
                  <a:lnTo>
                    <a:pt x="33" y="168"/>
                  </a:lnTo>
                  <a:lnTo>
                    <a:pt x="32" y="162"/>
                  </a:lnTo>
                  <a:lnTo>
                    <a:pt x="31" y="154"/>
                  </a:lnTo>
                  <a:lnTo>
                    <a:pt x="30" y="138"/>
                  </a:lnTo>
                  <a:lnTo>
                    <a:pt x="30" y="123"/>
                  </a:lnTo>
                  <a:lnTo>
                    <a:pt x="30" y="30"/>
                  </a:lnTo>
                  <a:close/>
                  <a:moveTo>
                    <a:pt x="0" y="123"/>
                  </a:moveTo>
                  <a:lnTo>
                    <a:pt x="0" y="143"/>
                  </a:lnTo>
                  <a:lnTo>
                    <a:pt x="2" y="164"/>
                  </a:lnTo>
                  <a:lnTo>
                    <a:pt x="4" y="175"/>
                  </a:lnTo>
                  <a:lnTo>
                    <a:pt x="7" y="183"/>
                  </a:lnTo>
                  <a:lnTo>
                    <a:pt x="12" y="192"/>
                  </a:lnTo>
                  <a:lnTo>
                    <a:pt x="17" y="199"/>
                  </a:lnTo>
                  <a:lnTo>
                    <a:pt x="23" y="203"/>
                  </a:lnTo>
                  <a:lnTo>
                    <a:pt x="30" y="208"/>
                  </a:lnTo>
                  <a:lnTo>
                    <a:pt x="30" y="360"/>
                  </a:lnTo>
                  <a:lnTo>
                    <a:pt x="180" y="360"/>
                  </a:lnTo>
                  <a:lnTo>
                    <a:pt x="180" y="208"/>
                  </a:lnTo>
                  <a:lnTo>
                    <a:pt x="184" y="206"/>
                  </a:lnTo>
                  <a:lnTo>
                    <a:pt x="187" y="203"/>
                  </a:lnTo>
                  <a:lnTo>
                    <a:pt x="192" y="200"/>
                  </a:lnTo>
                  <a:lnTo>
                    <a:pt x="195" y="197"/>
                  </a:lnTo>
                  <a:lnTo>
                    <a:pt x="198" y="193"/>
                  </a:lnTo>
                  <a:lnTo>
                    <a:pt x="201" y="187"/>
                  </a:lnTo>
                  <a:lnTo>
                    <a:pt x="203" y="181"/>
                  </a:lnTo>
                  <a:lnTo>
                    <a:pt x="206" y="175"/>
                  </a:lnTo>
                  <a:lnTo>
                    <a:pt x="209" y="162"/>
                  </a:lnTo>
                  <a:lnTo>
                    <a:pt x="210" y="149"/>
                  </a:lnTo>
                  <a:lnTo>
                    <a:pt x="210" y="136"/>
                  </a:lnTo>
                  <a:lnTo>
                    <a:pt x="210" y="123"/>
                  </a:lnTo>
                  <a:lnTo>
                    <a:pt x="210" y="0"/>
                  </a:lnTo>
                  <a:lnTo>
                    <a:pt x="0" y="0"/>
                  </a:lnTo>
                  <a:lnTo>
                    <a:pt x="0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86">
              <a:extLst>
                <a:ext uri="{FF2B5EF4-FFF2-40B4-BE49-F238E27FC236}">
                  <a16:creationId xmlns:a16="http://schemas.microsoft.com/office/drawing/2014/main" id="{6ED512A3-0B10-4485-9193-DBA516BF93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1750" y="2020888"/>
              <a:ext cx="66675" cy="114300"/>
            </a:xfrm>
            <a:custGeom>
              <a:avLst/>
              <a:gdLst>
                <a:gd name="T0" fmla="*/ 181 w 212"/>
                <a:gd name="T1" fmla="*/ 120 h 360"/>
                <a:gd name="T2" fmla="*/ 180 w 212"/>
                <a:gd name="T3" fmla="*/ 130 h 360"/>
                <a:gd name="T4" fmla="*/ 179 w 212"/>
                <a:gd name="T5" fmla="*/ 138 h 360"/>
                <a:gd name="T6" fmla="*/ 177 w 212"/>
                <a:gd name="T7" fmla="*/ 146 h 360"/>
                <a:gd name="T8" fmla="*/ 175 w 212"/>
                <a:gd name="T9" fmla="*/ 152 h 360"/>
                <a:gd name="T10" fmla="*/ 173 w 212"/>
                <a:gd name="T11" fmla="*/ 157 h 360"/>
                <a:gd name="T12" fmla="*/ 170 w 212"/>
                <a:gd name="T13" fmla="*/ 161 h 360"/>
                <a:gd name="T14" fmla="*/ 168 w 212"/>
                <a:gd name="T15" fmla="*/ 164 h 360"/>
                <a:gd name="T16" fmla="*/ 166 w 212"/>
                <a:gd name="T17" fmla="*/ 165 h 360"/>
                <a:gd name="T18" fmla="*/ 151 w 212"/>
                <a:gd name="T19" fmla="*/ 165 h 360"/>
                <a:gd name="T20" fmla="*/ 151 w 212"/>
                <a:gd name="T21" fmla="*/ 330 h 360"/>
                <a:gd name="T22" fmla="*/ 60 w 212"/>
                <a:gd name="T23" fmla="*/ 330 h 360"/>
                <a:gd name="T24" fmla="*/ 60 w 212"/>
                <a:gd name="T25" fmla="*/ 180 h 360"/>
                <a:gd name="T26" fmla="*/ 59 w 212"/>
                <a:gd name="T27" fmla="*/ 166 h 360"/>
                <a:gd name="T28" fmla="*/ 45 w 212"/>
                <a:gd name="T29" fmla="*/ 165 h 360"/>
                <a:gd name="T30" fmla="*/ 44 w 212"/>
                <a:gd name="T31" fmla="*/ 164 h 360"/>
                <a:gd name="T32" fmla="*/ 42 w 212"/>
                <a:gd name="T33" fmla="*/ 162 h 360"/>
                <a:gd name="T34" fmla="*/ 40 w 212"/>
                <a:gd name="T35" fmla="*/ 158 h 360"/>
                <a:gd name="T36" fmla="*/ 37 w 212"/>
                <a:gd name="T37" fmla="*/ 154 h 360"/>
                <a:gd name="T38" fmla="*/ 35 w 212"/>
                <a:gd name="T39" fmla="*/ 148 h 360"/>
                <a:gd name="T40" fmla="*/ 32 w 212"/>
                <a:gd name="T41" fmla="*/ 139 h 360"/>
                <a:gd name="T42" fmla="*/ 31 w 212"/>
                <a:gd name="T43" fmla="*/ 131 h 360"/>
                <a:gd name="T44" fmla="*/ 30 w 212"/>
                <a:gd name="T45" fmla="*/ 120 h 360"/>
                <a:gd name="T46" fmla="*/ 30 w 212"/>
                <a:gd name="T47" fmla="*/ 30 h 360"/>
                <a:gd name="T48" fmla="*/ 181 w 212"/>
                <a:gd name="T49" fmla="*/ 30 h 360"/>
                <a:gd name="T50" fmla="*/ 181 w 212"/>
                <a:gd name="T51" fmla="*/ 120 h 360"/>
                <a:gd name="T52" fmla="*/ 0 w 212"/>
                <a:gd name="T53" fmla="*/ 0 h 360"/>
                <a:gd name="T54" fmla="*/ 0 w 212"/>
                <a:gd name="T55" fmla="*/ 120 h 360"/>
                <a:gd name="T56" fmla="*/ 1 w 212"/>
                <a:gd name="T57" fmla="*/ 133 h 360"/>
                <a:gd name="T58" fmla="*/ 2 w 212"/>
                <a:gd name="T59" fmla="*/ 145 h 360"/>
                <a:gd name="T60" fmla="*/ 6 w 212"/>
                <a:gd name="T61" fmla="*/ 155 h 360"/>
                <a:gd name="T62" fmla="*/ 9 w 212"/>
                <a:gd name="T63" fmla="*/ 165 h 360"/>
                <a:gd name="T64" fmla="*/ 13 w 212"/>
                <a:gd name="T65" fmla="*/ 173 h 360"/>
                <a:gd name="T66" fmla="*/ 19 w 212"/>
                <a:gd name="T67" fmla="*/ 181 h 360"/>
                <a:gd name="T68" fmla="*/ 24 w 212"/>
                <a:gd name="T69" fmla="*/ 186 h 360"/>
                <a:gd name="T70" fmla="*/ 30 w 212"/>
                <a:gd name="T71" fmla="*/ 192 h 360"/>
                <a:gd name="T72" fmla="*/ 30 w 212"/>
                <a:gd name="T73" fmla="*/ 360 h 360"/>
                <a:gd name="T74" fmla="*/ 181 w 212"/>
                <a:gd name="T75" fmla="*/ 360 h 360"/>
                <a:gd name="T76" fmla="*/ 181 w 212"/>
                <a:gd name="T77" fmla="*/ 191 h 360"/>
                <a:gd name="T78" fmla="*/ 188 w 212"/>
                <a:gd name="T79" fmla="*/ 186 h 360"/>
                <a:gd name="T80" fmla="*/ 194 w 212"/>
                <a:gd name="T81" fmla="*/ 180 h 360"/>
                <a:gd name="T82" fmla="*/ 199 w 212"/>
                <a:gd name="T83" fmla="*/ 171 h 360"/>
                <a:gd name="T84" fmla="*/ 203 w 212"/>
                <a:gd name="T85" fmla="*/ 163 h 360"/>
                <a:gd name="T86" fmla="*/ 207 w 212"/>
                <a:gd name="T87" fmla="*/ 152 h 360"/>
                <a:gd name="T88" fmla="*/ 209 w 212"/>
                <a:gd name="T89" fmla="*/ 142 h 360"/>
                <a:gd name="T90" fmla="*/ 210 w 212"/>
                <a:gd name="T91" fmla="*/ 131 h 360"/>
                <a:gd name="T92" fmla="*/ 212 w 212"/>
                <a:gd name="T93" fmla="*/ 120 h 360"/>
                <a:gd name="T94" fmla="*/ 212 w 212"/>
                <a:gd name="T95" fmla="*/ 0 h 360"/>
                <a:gd name="T96" fmla="*/ 0 w 212"/>
                <a:gd name="T97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2" h="360">
                  <a:moveTo>
                    <a:pt x="181" y="120"/>
                  </a:moveTo>
                  <a:lnTo>
                    <a:pt x="180" y="130"/>
                  </a:lnTo>
                  <a:lnTo>
                    <a:pt x="179" y="138"/>
                  </a:lnTo>
                  <a:lnTo>
                    <a:pt x="177" y="146"/>
                  </a:lnTo>
                  <a:lnTo>
                    <a:pt x="175" y="152"/>
                  </a:lnTo>
                  <a:lnTo>
                    <a:pt x="173" y="157"/>
                  </a:lnTo>
                  <a:lnTo>
                    <a:pt x="170" y="161"/>
                  </a:lnTo>
                  <a:lnTo>
                    <a:pt x="168" y="164"/>
                  </a:lnTo>
                  <a:lnTo>
                    <a:pt x="166" y="165"/>
                  </a:lnTo>
                  <a:lnTo>
                    <a:pt x="151" y="165"/>
                  </a:lnTo>
                  <a:lnTo>
                    <a:pt x="151" y="330"/>
                  </a:lnTo>
                  <a:lnTo>
                    <a:pt x="60" y="330"/>
                  </a:lnTo>
                  <a:lnTo>
                    <a:pt x="60" y="180"/>
                  </a:lnTo>
                  <a:lnTo>
                    <a:pt x="59" y="166"/>
                  </a:lnTo>
                  <a:lnTo>
                    <a:pt x="45" y="165"/>
                  </a:lnTo>
                  <a:lnTo>
                    <a:pt x="44" y="164"/>
                  </a:lnTo>
                  <a:lnTo>
                    <a:pt x="42" y="162"/>
                  </a:lnTo>
                  <a:lnTo>
                    <a:pt x="40" y="158"/>
                  </a:lnTo>
                  <a:lnTo>
                    <a:pt x="37" y="154"/>
                  </a:lnTo>
                  <a:lnTo>
                    <a:pt x="35" y="148"/>
                  </a:lnTo>
                  <a:lnTo>
                    <a:pt x="32" y="139"/>
                  </a:lnTo>
                  <a:lnTo>
                    <a:pt x="31" y="131"/>
                  </a:lnTo>
                  <a:lnTo>
                    <a:pt x="30" y="120"/>
                  </a:lnTo>
                  <a:lnTo>
                    <a:pt x="30" y="30"/>
                  </a:lnTo>
                  <a:lnTo>
                    <a:pt x="181" y="30"/>
                  </a:lnTo>
                  <a:lnTo>
                    <a:pt x="181" y="120"/>
                  </a:lnTo>
                  <a:close/>
                  <a:moveTo>
                    <a:pt x="0" y="0"/>
                  </a:move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6" y="155"/>
                  </a:lnTo>
                  <a:lnTo>
                    <a:pt x="9" y="165"/>
                  </a:lnTo>
                  <a:lnTo>
                    <a:pt x="13" y="173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0" y="192"/>
                  </a:lnTo>
                  <a:lnTo>
                    <a:pt x="30" y="360"/>
                  </a:lnTo>
                  <a:lnTo>
                    <a:pt x="181" y="360"/>
                  </a:lnTo>
                  <a:lnTo>
                    <a:pt x="181" y="191"/>
                  </a:lnTo>
                  <a:lnTo>
                    <a:pt x="188" y="186"/>
                  </a:lnTo>
                  <a:lnTo>
                    <a:pt x="194" y="180"/>
                  </a:lnTo>
                  <a:lnTo>
                    <a:pt x="199" y="171"/>
                  </a:lnTo>
                  <a:lnTo>
                    <a:pt x="203" y="163"/>
                  </a:lnTo>
                  <a:lnTo>
                    <a:pt x="207" y="152"/>
                  </a:lnTo>
                  <a:lnTo>
                    <a:pt x="209" y="142"/>
                  </a:lnTo>
                  <a:lnTo>
                    <a:pt x="210" y="131"/>
                  </a:lnTo>
                  <a:lnTo>
                    <a:pt x="212" y="120"/>
                  </a:lnTo>
                  <a:lnTo>
                    <a:pt x="21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87">
              <a:extLst>
                <a:ext uri="{FF2B5EF4-FFF2-40B4-BE49-F238E27FC236}">
                  <a16:creationId xmlns:a16="http://schemas.microsoft.com/office/drawing/2014/main" id="{C577076F-26DD-4D3B-9B56-54F49FE566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7925" y="2020888"/>
              <a:ext cx="95250" cy="161925"/>
            </a:xfrm>
            <a:custGeom>
              <a:avLst/>
              <a:gdLst>
                <a:gd name="T0" fmla="*/ 270 w 300"/>
                <a:gd name="T1" fmla="*/ 30 h 511"/>
                <a:gd name="T2" fmla="*/ 270 w 300"/>
                <a:gd name="T3" fmla="*/ 218 h 511"/>
                <a:gd name="T4" fmla="*/ 266 w 300"/>
                <a:gd name="T5" fmla="*/ 239 h 511"/>
                <a:gd name="T6" fmla="*/ 259 w 300"/>
                <a:gd name="T7" fmla="*/ 253 h 511"/>
                <a:gd name="T8" fmla="*/ 253 w 300"/>
                <a:gd name="T9" fmla="*/ 260 h 511"/>
                <a:gd name="T10" fmla="*/ 244 w 300"/>
                <a:gd name="T11" fmla="*/ 267 h 511"/>
                <a:gd name="T12" fmla="*/ 233 w 300"/>
                <a:gd name="T13" fmla="*/ 270 h 511"/>
                <a:gd name="T14" fmla="*/ 210 w 300"/>
                <a:gd name="T15" fmla="*/ 270 h 511"/>
                <a:gd name="T16" fmla="*/ 90 w 300"/>
                <a:gd name="T17" fmla="*/ 481 h 511"/>
                <a:gd name="T18" fmla="*/ 75 w 300"/>
                <a:gd name="T19" fmla="*/ 270 h 511"/>
                <a:gd name="T20" fmla="*/ 61 w 300"/>
                <a:gd name="T21" fmla="*/ 269 h 511"/>
                <a:gd name="T22" fmla="*/ 51 w 300"/>
                <a:gd name="T23" fmla="*/ 264 h 511"/>
                <a:gd name="T24" fmla="*/ 43 w 300"/>
                <a:gd name="T25" fmla="*/ 257 h 511"/>
                <a:gd name="T26" fmla="*/ 38 w 300"/>
                <a:gd name="T27" fmla="*/ 249 h 511"/>
                <a:gd name="T28" fmla="*/ 31 w 300"/>
                <a:gd name="T29" fmla="*/ 229 h 511"/>
                <a:gd name="T30" fmla="*/ 30 w 300"/>
                <a:gd name="T31" fmla="*/ 210 h 511"/>
                <a:gd name="T32" fmla="*/ 0 w 300"/>
                <a:gd name="T33" fmla="*/ 210 h 511"/>
                <a:gd name="T34" fmla="*/ 1 w 300"/>
                <a:gd name="T35" fmla="*/ 228 h 511"/>
                <a:gd name="T36" fmla="*/ 3 w 300"/>
                <a:gd name="T37" fmla="*/ 244 h 511"/>
                <a:gd name="T38" fmla="*/ 9 w 300"/>
                <a:gd name="T39" fmla="*/ 258 h 511"/>
                <a:gd name="T40" fmla="*/ 16 w 300"/>
                <a:gd name="T41" fmla="*/ 270 h 511"/>
                <a:gd name="T42" fmla="*/ 25 w 300"/>
                <a:gd name="T43" fmla="*/ 281 h 511"/>
                <a:gd name="T44" fmla="*/ 34 w 300"/>
                <a:gd name="T45" fmla="*/ 289 h 511"/>
                <a:gd name="T46" fmla="*/ 46 w 300"/>
                <a:gd name="T47" fmla="*/ 295 h 511"/>
                <a:gd name="T48" fmla="*/ 60 w 300"/>
                <a:gd name="T49" fmla="*/ 299 h 511"/>
                <a:gd name="T50" fmla="*/ 240 w 300"/>
                <a:gd name="T51" fmla="*/ 511 h 511"/>
                <a:gd name="T52" fmla="*/ 247 w 300"/>
                <a:gd name="T53" fmla="*/ 297 h 511"/>
                <a:gd name="T54" fmla="*/ 259 w 300"/>
                <a:gd name="T55" fmla="*/ 292 h 511"/>
                <a:gd name="T56" fmla="*/ 271 w 300"/>
                <a:gd name="T57" fmla="*/ 285 h 511"/>
                <a:gd name="T58" fmla="*/ 280 w 300"/>
                <a:gd name="T59" fmla="*/ 275 h 511"/>
                <a:gd name="T60" fmla="*/ 288 w 300"/>
                <a:gd name="T61" fmla="*/ 265 h 511"/>
                <a:gd name="T62" fmla="*/ 294 w 300"/>
                <a:gd name="T63" fmla="*/ 251 h 511"/>
                <a:gd name="T64" fmla="*/ 298 w 300"/>
                <a:gd name="T65" fmla="*/ 236 h 511"/>
                <a:gd name="T66" fmla="*/ 300 w 300"/>
                <a:gd name="T67" fmla="*/ 220 h 511"/>
                <a:gd name="T68" fmla="*/ 300 w 300"/>
                <a:gd name="T69" fmla="*/ 0 h 511"/>
                <a:gd name="T70" fmla="*/ 0 w 300"/>
                <a:gd name="T71" fmla="*/ 21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0" h="511">
                  <a:moveTo>
                    <a:pt x="30" y="30"/>
                  </a:moveTo>
                  <a:lnTo>
                    <a:pt x="270" y="30"/>
                  </a:lnTo>
                  <a:lnTo>
                    <a:pt x="270" y="210"/>
                  </a:lnTo>
                  <a:lnTo>
                    <a:pt x="270" y="218"/>
                  </a:lnTo>
                  <a:lnTo>
                    <a:pt x="269" y="229"/>
                  </a:lnTo>
                  <a:lnTo>
                    <a:pt x="266" y="239"/>
                  </a:lnTo>
                  <a:lnTo>
                    <a:pt x="263" y="249"/>
                  </a:lnTo>
                  <a:lnTo>
                    <a:pt x="259" y="253"/>
                  </a:lnTo>
                  <a:lnTo>
                    <a:pt x="256" y="257"/>
                  </a:lnTo>
                  <a:lnTo>
                    <a:pt x="253" y="260"/>
                  </a:lnTo>
                  <a:lnTo>
                    <a:pt x="249" y="264"/>
                  </a:lnTo>
                  <a:lnTo>
                    <a:pt x="244" y="267"/>
                  </a:lnTo>
                  <a:lnTo>
                    <a:pt x="238" y="269"/>
                  </a:lnTo>
                  <a:lnTo>
                    <a:pt x="233" y="270"/>
                  </a:lnTo>
                  <a:lnTo>
                    <a:pt x="225" y="270"/>
                  </a:lnTo>
                  <a:lnTo>
                    <a:pt x="210" y="270"/>
                  </a:lnTo>
                  <a:lnTo>
                    <a:pt x="210" y="481"/>
                  </a:lnTo>
                  <a:lnTo>
                    <a:pt x="90" y="481"/>
                  </a:lnTo>
                  <a:lnTo>
                    <a:pt x="90" y="270"/>
                  </a:lnTo>
                  <a:lnTo>
                    <a:pt x="75" y="270"/>
                  </a:lnTo>
                  <a:lnTo>
                    <a:pt x="68" y="270"/>
                  </a:lnTo>
                  <a:lnTo>
                    <a:pt x="61" y="269"/>
                  </a:lnTo>
                  <a:lnTo>
                    <a:pt x="56" y="267"/>
                  </a:lnTo>
                  <a:lnTo>
                    <a:pt x="51" y="264"/>
                  </a:lnTo>
                  <a:lnTo>
                    <a:pt x="47" y="260"/>
                  </a:lnTo>
                  <a:lnTo>
                    <a:pt x="43" y="257"/>
                  </a:lnTo>
                  <a:lnTo>
                    <a:pt x="40" y="253"/>
                  </a:lnTo>
                  <a:lnTo>
                    <a:pt x="38" y="249"/>
                  </a:lnTo>
                  <a:lnTo>
                    <a:pt x="33" y="239"/>
                  </a:lnTo>
                  <a:lnTo>
                    <a:pt x="31" y="229"/>
                  </a:lnTo>
                  <a:lnTo>
                    <a:pt x="30" y="218"/>
                  </a:lnTo>
                  <a:lnTo>
                    <a:pt x="30" y="210"/>
                  </a:lnTo>
                  <a:lnTo>
                    <a:pt x="30" y="30"/>
                  </a:lnTo>
                  <a:close/>
                  <a:moveTo>
                    <a:pt x="0" y="210"/>
                  </a:moveTo>
                  <a:lnTo>
                    <a:pt x="0" y="218"/>
                  </a:lnTo>
                  <a:lnTo>
                    <a:pt x="1" y="228"/>
                  </a:lnTo>
                  <a:lnTo>
                    <a:pt x="2" y="236"/>
                  </a:lnTo>
                  <a:lnTo>
                    <a:pt x="3" y="244"/>
                  </a:lnTo>
                  <a:lnTo>
                    <a:pt x="6" y="251"/>
                  </a:lnTo>
                  <a:lnTo>
                    <a:pt x="9" y="258"/>
                  </a:lnTo>
                  <a:lnTo>
                    <a:pt x="12" y="265"/>
                  </a:lnTo>
                  <a:lnTo>
                    <a:pt x="16" y="270"/>
                  </a:lnTo>
                  <a:lnTo>
                    <a:pt x="19" y="275"/>
                  </a:lnTo>
                  <a:lnTo>
                    <a:pt x="25" y="281"/>
                  </a:lnTo>
                  <a:lnTo>
                    <a:pt x="29" y="285"/>
                  </a:lnTo>
                  <a:lnTo>
                    <a:pt x="34" y="289"/>
                  </a:lnTo>
                  <a:lnTo>
                    <a:pt x="41" y="292"/>
                  </a:lnTo>
                  <a:lnTo>
                    <a:pt x="46" y="295"/>
                  </a:lnTo>
                  <a:lnTo>
                    <a:pt x="53" y="297"/>
                  </a:lnTo>
                  <a:lnTo>
                    <a:pt x="60" y="299"/>
                  </a:lnTo>
                  <a:lnTo>
                    <a:pt x="60" y="511"/>
                  </a:lnTo>
                  <a:lnTo>
                    <a:pt x="240" y="511"/>
                  </a:lnTo>
                  <a:lnTo>
                    <a:pt x="240" y="299"/>
                  </a:lnTo>
                  <a:lnTo>
                    <a:pt x="247" y="297"/>
                  </a:lnTo>
                  <a:lnTo>
                    <a:pt x="254" y="295"/>
                  </a:lnTo>
                  <a:lnTo>
                    <a:pt x="259" y="292"/>
                  </a:lnTo>
                  <a:lnTo>
                    <a:pt x="266" y="289"/>
                  </a:lnTo>
                  <a:lnTo>
                    <a:pt x="271" y="285"/>
                  </a:lnTo>
                  <a:lnTo>
                    <a:pt x="276" y="281"/>
                  </a:lnTo>
                  <a:lnTo>
                    <a:pt x="280" y="275"/>
                  </a:lnTo>
                  <a:lnTo>
                    <a:pt x="284" y="270"/>
                  </a:lnTo>
                  <a:lnTo>
                    <a:pt x="288" y="265"/>
                  </a:lnTo>
                  <a:lnTo>
                    <a:pt x="292" y="258"/>
                  </a:lnTo>
                  <a:lnTo>
                    <a:pt x="294" y="251"/>
                  </a:lnTo>
                  <a:lnTo>
                    <a:pt x="296" y="244"/>
                  </a:lnTo>
                  <a:lnTo>
                    <a:pt x="298" y="236"/>
                  </a:lnTo>
                  <a:lnTo>
                    <a:pt x="299" y="228"/>
                  </a:lnTo>
                  <a:lnTo>
                    <a:pt x="300" y="220"/>
                  </a:lnTo>
                  <a:lnTo>
                    <a:pt x="300" y="210"/>
                  </a:lnTo>
                  <a:lnTo>
                    <a:pt x="300" y="0"/>
                  </a:lnTo>
                  <a:lnTo>
                    <a:pt x="0" y="0"/>
                  </a:lnTo>
                  <a:lnTo>
                    <a:pt x="0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88">
              <a:extLst>
                <a:ext uri="{FF2B5EF4-FFF2-40B4-BE49-F238E27FC236}">
                  <a16:creationId xmlns:a16="http://schemas.microsoft.com/office/drawing/2014/main" id="{3FF7F276-681C-4F00-BE63-028D474283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1275" y="1963738"/>
              <a:ext cx="47625" cy="47625"/>
            </a:xfrm>
            <a:custGeom>
              <a:avLst/>
              <a:gdLst>
                <a:gd name="T0" fmla="*/ 85 w 151"/>
                <a:gd name="T1" fmla="*/ 31 h 151"/>
                <a:gd name="T2" fmla="*/ 101 w 151"/>
                <a:gd name="T3" fmla="*/ 38 h 151"/>
                <a:gd name="T4" fmla="*/ 113 w 151"/>
                <a:gd name="T5" fmla="*/ 50 h 151"/>
                <a:gd name="T6" fmla="*/ 120 w 151"/>
                <a:gd name="T7" fmla="*/ 66 h 151"/>
                <a:gd name="T8" fmla="*/ 120 w 151"/>
                <a:gd name="T9" fmla="*/ 84 h 151"/>
                <a:gd name="T10" fmla="*/ 113 w 151"/>
                <a:gd name="T11" fmla="*/ 100 h 151"/>
                <a:gd name="T12" fmla="*/ 101 w 151"/>
                <a:gd name="T13" fmla="*/ 112 h 151"/>
                <a:gd name="T14" fmla="*/ 85 w 151"/>
                <a:gd name="T15" fmla="*/ 120 h 151"/>
                <a:gd name="T16" fmla="*/ 67 w 151"/>
                <a:gd name="T17" fmla="*/ 120 h 151"/>
                <a:gd name="T18" fmla="*/ 51 w 151"/>
                <a:gd name="T19" fmla="*/ 112 h 151"/>
                <a:gd name="T20" fmla="*/ 39 w 151"/>
                <a:gd name="T21" fmla="*/ 100 h 151"/>
                <a:gd name="T22" fmla="*/ 31 w 151"/>
                <a:gd name="T23" fmla="*/ 84 h 151"/>
                <a:gd name="T24" fmla="*/ 31 w 151"/>
                <a:gd name="T25" fmla="*/ 66 h 151"/>
                <a:gd name="T26" fmla="*/ 39 w 151"/>
                <a:gd name="T27" fmla="*/ 50 h 151"/>
                <a:gd name="T28" fmla="*/ 51 w 151"/>
                <a:gd name="T29" fmla="*/ 38 h 151"/>
                <a:gd name="T30" fmla="*/ 67 w 151"/>
                <a:gd name="T31" fmla="*/ 31 h 151"/>
                <a:gd name="T32" fmla="*/ 76 w 151"/>
                <a:gd name="T33" fmla="*/ 151 h 151"/>
                <a:gd name="T34" fmla="*/ 91 w 151"/>
                <a:gd name="T35" fmla="*/ 149 h 151"/>
                <a:gd name="T36" fmla="*/ 105 w 151"/>
                <a:gd name="T37" fmla="*/ 144 h 151"/>
                <a:gd name="T38" fmla="*/ 118 w 151"/>
                <a:gd name="T39" fmla="*/ 138 h 151"/>
                <a:gd name="T40" fmla="*/ 129 w 151"/>
                <a:gd name="T41" fmla="*/ 128 h 151"/>
                <a:gd name="T42" fmla="*/ 139 w 151"/>
                <a:gd name="T43" fmla="*/ 118 h 151"/>
                <a:gd name="T44" fmla="*/ 145 w 151"/>
                <a:gd name="T45" fmla="*/ 105 h 151"/>
                <a:gd name="T46" fmla="*/ 149 w 151"/>
                <a:gd name="T47" fmla="*/ 91 h 151"/>
                <a:gd name="T48" fmla="*/ 151 w 151"/>
                <a:gd name="T49" fmla="*/ 75 h 151"/>
                <a:gd name="T50" fmla="*/ 149 w 151"/>
                <a:gd name="T51" fmla="*/ 60 h 151"/>
                <a:gd name="T52" fmla="*/ 145 w 151"/>
                <a:gd name="T53" fmla="*/ 46 h 151"/>
                <a:gd name="T54" fmla="*/ 139 w 151"/>
                <a:gd name="T55" fmla="*/ 33 h 151"/>
                <a:gd name="T56" fmla="*/ 129 w 151"/>
                <a:gd name="T57" fmla="*/ 22 h 151"/>
                <a:gd name="T58" fmla="*/ 118 w 151"/>
                <a:gd name="T59" fmla="*/ 12 h 151"/>
                <a:gd name="T60" fmla="*/ 105 w 151"/>
                <a:gd name="T61" fmla="*/ 6 h 151"/>
                <a:gd name="T62" fmla="*/ 91 w 151"/>
                <a:gd name="T63" fmla="*/ 2 h 151"/>
                <a:gd name="T64" fmla="*/ 76 w 151"/>
                <a:gd name="T65" fmla="*/ 0 h 151"/>
                <a:gd name="T66" fmla="*/ 60 w 151"/>
                <a:gd name="T67" fmla="*/ 2 h 151"/>
                <a:gd name="T68" fmla="*/ 46 w 151"/>
                <a:gd name="T69" fmla="*/ 6 h 151"/>
                <a:gd name="T70" fmla="*/ 34 w 151"/>
                <a:gd name="T71" fmla="*/ 12 h 151"/>
                <a:gd name="T72" fmla="*/ 23 w 151"/>
                <a:gd name="T73" fmla="*/ 22 h 151"/>
                <a:gd name="T74" fmla="*/ 13 w 151"/>
                <a:gd name="T75" fmla="*/ 33 h 151"/>
                <a:gd name="T76" fmla="*/ 7 w 151"/>
                <a:gd name="T77" fmla="*/ 46 h 151"/>
                <a:gd name="T78" fmla="*/ 2 w 151"/>
                <a:gd name="T79" fmla="*/ 60 h 151"/>
                <a:gd name="T80" fmla="*/ 0 w 151"/>
                <a:gd name="T81" fmla="*/ 75 h 151"/>
                <a:gd name="T82" fmla="*/ 2 w 151"/>
                <a:gd name="T83" fmla="*/ 91 h 151"/>
                <a:gd name="T84" fmla="*/ 7 w 151"/>
                <a:gd name="T85" fmla="*/ 105 h 151"/>
                <a:gd name="T86" fmla="*/ 13 w 151"/>
                <a:gd name="T87" fmla="*/ 118 h 151"/>
                <a:gd name="T88" fmla="*/ 23 w 151"/>
                <a:gd name="T89" fmla="*/ 128 h 151"/>
                <a:gd name="T90" fmla="*/ 34 w 151"/>
                <a:gd name="T91" fmla="*/ 138 h 151"/>
                <a:gd name="T92" fmla="*/ 46 w 151"/>
                <a:gd name="T93" fmla="*/ 144 h 151"/>
                <a:gd name="T94" fmla="*/ 60 w 151"/>
                <a:gd name="T95" fmla="*/ 149 h 151"/>
                <a:gd name="T96" fmla="*/ 76 w 151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1" h="151">
                  <a:moveTo>
                    <a:pt x="76" y="30"/>
                  </a:moveTo>
                  <a:lnTo>
                    <a:pt x="85" y="31"/>
                  </a:lnTo>
                  <a:lnTo>
                    <a:pt x="94" y="34"/>
                  </a:lnTo>
                  <a:lnTo>
                    <a:pt x="101" y="38"/>
                  </a:lnTo>
                  <a:lnTo>
                    <a:pt x="108" y="44"/>
                  </a:lnTo>
                  <a:lnTo>
                    <a:pt x="113" y="50"/>
                  </a:lnTo>
                  <a:lnTo>
                    <a:pt x="117" y="57"/>
                  </a:lnTo>
                  <a:lnTo>
                    <a:pt x="120" y="66"/>
                  </a:lnTo>
                  <a:lnTo>
                    <a:pt x="121" y="75"/>
                  </a:lnTo>
                  <a:lnTo>
                    <a:pt x="120" y="84"/>
                  </a:lnTo>
                  <a:lnTo>
                    <a:pt x="117" y="93"/>
                  </a:lnTo>
                  <a:lnTo>
                    <a:pt x="113" y="100"/>
                  </a:lnTo>
                  <a:lnTo>
                    <a:pt x="108" y="107"/>
                  </a:lnTo>
                  <a:lnTo>
                    <a:pt x="101" y="112"/>
                  </a:lnTo>
                  <a:lnTo>
                    <a:pt x="94" y="116"/>
                  </a:lnTo>
                  <a:lnTo>
                    <a:pt x="85" y="120"/>
                  </a:lnTo>
                  <a:lnTo>
                    <a:pt x="76" y="121"/>
                  </a:lnTo>
                  <a:lnTo>
                    <a:pt x="67" y="120"/>
                  </a:lnTo>
                  <a:lnTo>
                    <a:pt x="58" y="116"/>
                  </a:lnTo>
                  <a:lnTo>
                    <a:pt x="51" y="112"/>
                  </a:lnTo>
                  <a:lnTo>
                    <a:pt x="44" y="107"/>
                  </a:lnTo>
                  <a:lnTo>
                    <a:pt x="39" y="100"/>
                  </a:lnTo>
                  <a:lnTo>
                    <a:pt x="35" y="93"/>
                  </a:lnTo>
                  <a:lnTo>
                    <a:pt x="31" y="84"/>
                  </a:lnTo>
                  <a:lnTo>
                    <a:pt x="30" y="75"/>
                  </a:lnTo>
                  <a:lnTo>
                    <a:pt x="31" y="66"/>
                  </a:lnTo>
                  <a:lnTo>
                    <a:pt x="35" y="57"/>
                  </a:lnTo>
                  <a:lnTo>
                    <a:pt x="39" y="50"/>
                  </a:lnTo>
                  <a:lnTo>
                    <a:pt x="44" y="44"/>
                  </a:lnTo>
                  <a:lnTo>
                    <a:pt x="51" y="38"/>
                  </a:lnTo>
                  <a:lnTo>
                    <a:pt x="58" y="34"/>
                  </a:lnTo>
                  <a:lnTo>
                    <a:pt x="67" y="31"/>
                  </a:lnTo>
                  <a:lnTo>
                    <a:pt x="76" y="30"/>
                  </a:lnTo>
                  <a:close/>
                  <a:moveTo>
                    <a:pt x="76" y="151"/>
                  </a:moveTo>
                  <a:lnTo>
                    <a:pt x="84" y="150"/>
                  </a:lnTo>
                  <a:lnTo>
                    <a:pt x="91" y="149"/>
                  </a:lnTo>
                  <a:lnTo>
                    <a:pt x="98" y="146"/>
                  </a:lnTo>
                  <a:lnTo>
                    <a:pt x="105" y="144"/>
                  </a:lnTo>
                  <a:lnTo>
                    <a:pt x="112" y="141"/>
                  </a:lnTo>
                  <a:lnTo>
                    <a:pt x="118" y="138"/>
                  </a:lnTo>
                  <a:lnTo>
                    <a:pt x="124" y="134"/>
                  </a:lnTo>
                  <a:lnTo>
                    <a:pt x="129" y="128"/>
                  </a:lnTo>
                  <a:lnTo>
                    <a:pt x="134" y="123"/>
                  </a:lnTo>
                  <a:lnTo>
                    <a:pt x="139" y="118"/>
                  </a:lnTo>
                  <a:lnTo>
                    <a:pt x="142" y="111"/>
                  </a:lnTo>
                  <a:lnTo>
                    <a:pt x="145" y="105"/>
                  </a:lnTo>
                  <a:lnTo>
                    <a:pt x="148" y="97"/>
                  </a:lnTo>
                  <a:lnTo>
                    <a:pt x="149" y="91"/>
                  </a:lnTo>
                  <a:lnTo>
                    <a:pt x="150" y="83"/>
                  </a:lnTo>
                  <a:lnTo>
                    <a:pt x="151" y="75"/>
                  </a:lnTo>
                  <a:lnTo>
                    <a:pt x="150" y="67"/>
                  </a:lnTo>
                  <a:lnTo>
                    <a:pt x="149" y="60"/>
                  </a:lnTo>
                  <a:lnTo>
                    <a:pt x="148" y="53"/>
                  </a:lnTo>
                  <a:lnTo>
                    <a:pt x="145" y="46"/>
                  </a:lnTo>
                  <a:lnTo>
                    <a:pt x="142" y="39"/>
                  </a:lnTo>
                  <a:lnTo>
                    <a:pt x="139" y="33"/>
                  </a:lnTo>
                  <a:lnTo>
                    <a:pt x="134" y="27"/>
                  </a:lnTo>
                  <a:lnTo>
                    <a:pt x="129" y="22"/>
                  </a:lnTo>
                  <a:lnTo>
                    <a:pt x="124" y="17"/>
                  </a:lnTo>
                  <a:lnTo>
                    <a:pt x="118" y="12"/>
                  </a:lnTo>
                  <a:lnTo>
                    <a:pt x="112" y="9"/>
                  </a:lnTo>
                  <a:lnTo>
                    <a:pt x="105" y="6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4" y="1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60" y="2"/>
                  </a:lnTo>
                  <a:lnTo>
                    <a:pt x="54" y="4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4" y="12"/>
                  </a:lnTo>
                  <a:lnTo>
                    <a:pt x="28" y="17"/>
                  </a:lnTo>
                  <a:lnTo>
                    <a:pt x="23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10" y="39"/>
                  </a:lnTo>
                  <a:lnTo>
                    <a:pt x="7" y="46"/>
                  </a:lnTo>
                  <a:lnTo>
                    <a:pt x="5" y="53"/>
                  </a:lnTo>
                  <a:lnTo>
                    <a:pt x="2" y="60"/>
                  </a:lnTo>
                  <a:lnTo>
                    <a:pt x="1" y="67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2" y="91"/>
                  </a:lnTo>
                  <a:lnTo>
                    <a:pt x="5" y="97"/>
                  </a:lnTo>
                  <a:lnTo>
                    <a:pt x="7" y="105"/>
                  </a:lnTo>
                  <a:lnTo>
                    <a:pt x="10" y="111"/>
                  </a:lnTo>
                  <a:lnTo>
                    <a:pt x="13" y="118"/>
                  </a:lnTo>
                  <a:lnTo>
                    <a:pt x="17" y="123"/>
                  </a:lnTo>
                  <a:lnTo>
                    <a:pt x="23" y="128"/>
                  </a:lnTo>
                  <a:lnTo>
                    <a:pt x="28" y="134"/>
                  </a:lnTo>
                  <a:lnTo>
                    <a:pt x="34" y="138"/>
                  </a:lnTo>
                  <a:lnTo>
                    <a:pt x="40" y="141"/>
                  </a:lnTo>
                  <a:lnTo>
                    <a:pt x="46" y="144"/>
                  </a:lnTo>
                  <a:lnTo>
                    <a:pt x="54" y="146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6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189">
              <a:extLst>
                <a:ext uri="{FF2B5EF4-FFF2-40B4-BE49-F238E27FC236}">
                  <a16:creationId xmlns:a16="http://schemas.microsoft.com/office/drawing/2014/main" id="{DE0E36B0-5C83-431B-AAB3-8E3BDB2043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2200" y="1963738"/>
              <a:ext cx="47625" cy="47625"/>
            </a:xfrm>
            <a:custGeom>
              <a:avLst/>
              <a:gdLst>
                <a:gd name="T0" fmla="*/ 84 w 150"/>
                <a:gd name="T1" fmla="*/ 31 h 151"/>
                <a:gd name="T2" fmla="*/ 101 w 150"/>
                <a:gd name="T3" fmla="*/ 38 h 151"/>
                <a:gd name="T4" fmla="*/ 112 w 150"/>
                <a:gd name="T5" fmla="*/ 50 h 151"/>
                <a:gd name="T6" fmla="*/ 119 w 150"/>
                <a:gd name="T7" fmla="*/ 66 h 151"/>
                <a:gd name="T8" fmla="*/ 119 w 150"/>
                <a:gd name="T9" fmla="*/ 84 h 151"/>
                <a:gd name="T10" fmla="*/ 112 w 150"/>
                <a:gd name="T11" fmla="*/ 100 h 151"/>
                <a:gd name="T12" fmla="*/ 101 w 150"/>
                <a:gd name="T13" fmla="*/ 112 h 151"/>
                <a:gd name="T14" fmla="*/ 84 w 150"/>
                <a:gd name="T15" fmla="*/ 120 h 151"/>
                <a:gd name="T16" fmla="*/ 66 w 150"/>
                <a:gd name="T17" fmla="*/ 120 h 151"/>
                <a:gd name="T18" fmla="*/ 50 w 150"/>
                <a:gd name="T19" fmla="*/ 112 h 151"/>
                <a:gd name="T20" fmla="*/ 37 w 150"/>
                <a:gd name="T21" fmla="*/ 100 h 151"/>
                <a:gd name="T22" fmla="*/ 31 w 150"/>
                <a:gd name="T23" fmla="*/ 84 h 151"/>
                <a:gd name="T24" fmla="*/ 31 w 150"/>
                <a:gd name="T25" fmla="*/ 66 h 151"/>
                <a:gd name="T26" fmla="*/ 37 w 150"/>
                <a:gd name="T27" fmla="*/ 50 h 151"/>
                <a:gd name="T28" fmla="*/ 50 w 150"/>
                <a:gd name="T29" fmla="*/ 38 h 151"/>
                <a:gd name="T30" fmla="*/ 66 w 150"/>
                <a:gd name="T31" fmla="*/ 31 h 151"/>
                <a:gd name="T32" fmla="*/ 75 w 150"/>
                <a:gd name="T33" fmla="*/ 151 h 151"/>
                <a:gd name="T34" fmla="*/ 90 w 150"/>
                <a:gd name="T35" fmla="*/ 149 h 151"/>
                <a:gd name="T36" fmla="*/ 105 w 150"/>
                <a:gd name="T37" fmla="*/ 144 h 151"/>
                <a:gd name="T38" fmla="*/ 117 w 150"/>
                <a:gd name="T39" fmla="*/ 138 h 151"/>
                <a:gd name="T40" fmla="*/ 128 w 150"/>
                <a:gd name="T41" fmla="*/ 128 h 151"/>
                <a:gd name="T42" fmla="*/ 137 w 150"/>
                <a:gd name="T43" fmla="*/ 118 h 151"/>
                <a:gd name="T44" fmla="*/ 144 w 150"/>
                <a:gd name="T45" fmla="*/ 105 h 151"/>
                <a:gd name="T46" fmla="*/ 149 w 150"/>
                <a:gd name="T47" fmla="*/ 91 h 151"/>
                <a:gd name="T48" fmla="*/ 150 w 150"/>
                <a:gd name="T49" fmla="*/ 75 h 151"/>
                <a:gd name="T50" fmla="*/ 149 w 150"/>
                <a:gd name="T51" fmla="*/ 60 h 151"/>
                <a:gd name="T52" fmla="*/ 144 w 150"/>
                <a:gd name="T53" fmla="*/ 46 h 151"/>
                <a:gd name="T54" fmla="*/ 137 w 150"/>
                <a:gd name="T55" fmla="*/ 33 h 151"/>
                <a:gd name="T56" fmla="*/ 128 w 150"/>
                <a:gd name="T57" fmla="*/ 22 h 151"/>
                <a:gd name="T58" fmla="*/ 117 w 150"/>
                <a:gd name="T59" fmla="*/ 12 h 151"/>
                <a:gd name="T60" fmla="*/ 105 w 150"/>
                <a:gd name="T61" fmla="*/ 6 h 151"/>
                <a:gd name="T62" fmla="*/ 90 w 150"/>
                <a:gd name="T63" fmla="*/ 2 h 151"/>
                <a:gd name="T64" fmla="*/ 75 w 150"/>
                <a:gd name="T65" fmla="*/ 0 h 151"/>
                <a:gd name="T66" fmla="*/ 60 w 150"/>
                <a:gd name="T67" fmla="*/ 2 h 151"/>
                <a:gd name="T68" fmla="*/ 46 w 150"/>
                <a:gd name="T69" fmla="*/ 6 h 151"/>
                <a:gd name="T70" fmla="*/ 33 w 150"/>
                <a:gd name="T71" fmla="*/ 12 h 151"/>
                <a:gd name="T72" fmla="*/ 22 w 150"/>
                <a:gd name="T73" fmla="*/ 22 h 151"/>
                <a:gd name="T74" fmla="*/ 13 w 150"/>
                <a:gd name="T75" fmla="*/ 33 h 151"/>
                <a:gd name="T76" fmla="*/ 6 w 150"/>
                <a:gd name="T77" fmla="*/ 46 h 151"/>
                <a:gd name="T78" fmla="*/ 2 w 150"/>
                <a:gd name="T79" fmla="*/ 60 h 151"/>
                <a:gd name="T80" fmla="*/ 0 w 150"/>
                <a:gd name="T81" fmla="*/ 75 h 151"/>
                <a:gd name="T82" fmla="*/ 2 w 150"/>
                <a:gd name="T83" fmla="*/ 91 h 151"/>
                <a:gd name="T84" fmla="*/ 6 w 150"/>
                <a:gd name="T85" fmla="*/ 105 h 151"/>
                <a:gd name="T86" fmla="*/ 13 w 150"/>
                <a:gd name="T87" fmla="*/ 118 h 151"/>
                <a:gd name="T88" fmla="*/ 22 w 150"/>
                <a:gd name="T89" fmla="*/ 128 h 151"/>
                <a:gd name="T90" fmla="*/ 33 w 150"/>
                <a:gd name="T91" fmla="*/ 138 h 151"/>
                <a:gd name="T92" fmla="*/ 46 w 150"/>
                <a:gd name="T93" fmla="*/ 144 h 151"/>
                <a:gd name="T94" fmla="*/ 60 w 150"/>
                <a:gd name="T95" fmla="*/ 149 h 151"/>
                <a:gd name="T96" fmla="*/ 75 w 150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0" h="151">
                  <a:moveTo>
                    <a:pt x="75" y="30"/>
                  </a:moveTo>
                  <a:lnTo>
                    <a:pt x="84" y="31"/>
                  </a:lnTo>
                  <a:lnTo>
                    <a:pt x="93" y="34"/>
                  </a:lnTo>
                  <a:lnTo>
                    <a:pt x="101" y="38"/>
                  </a:lnTo>
                  <a:lnTo>
                    <a:pt x="107" y="44"/>
                  </a:lnTo>
                  <a:lnTo>
                    <a:pt x="112" y="50"/>
                  </a:lnTo>
                  <a:lnTo>
                    <a:pt x="117" y="57"/>
                  </a:lnTo>
                  <a:lnTo>
                    <a:pt x="119" y="66"/>
                  </a:lnTo>
                  <a:lnTo>
                    <a:pt x="120" y="75"/>
                  </a:lnTo>
                  <a:lnTo>
                    <a:pt x="119" y="84"/>
                  </a:lnTo>
                  <a:lnTo>
                    <a:pt x="117" y="93"/>
                  </a:lnTo>
                  <a:lnTo>
                    <a:pt x="112" y="100"/>
                  </a:lnTo>
                  <a:lnTo>
                    <a:pt x="107" y="107"/>
                  </a:lnTo>
                  <a:lnTo>
                    <a:pt x="101" y="112"/>
                  </a:lnTo>
                  <a:lnTo>
                    <a:pt x="93" y="116"/>
                  </a:lnTo>
                  <a:lnTo>
                    <a:pt x="84" y="120"/>
                  </a:lnTo>
                  <a:lnTo>
                    <a:pt x="75" y="121"/>
                  </a:lnTo>
                  <a:lnTo>
                    <a:pt x="66" y="120"/>
                  </a:lnTo>
                  <a:lnTo>
                    <a:pt x="58" y="116"/>
                  </a:lnTo>
                  <a:lnTo>
                    <a:pt x="50" y="112"/>
                  </a:lnTo>
                  <a:lnTo>
                    <a:pt x="44" y="107"/>
                  </a:lnTo>
                  <a:lnTo>
                    <a:pt x="37" y="100"/>
                  </a:lnTo>
                  <a:lnTo>
                    <a:pt x="33" y="93"/>
                  </a:lnTo>
                  <a:lnTo>
                    <a:pt x="31" y="84"/>
                  </a:lnTo>
                  <a:lnTo>
                    <a:pt x="30" y="75"/>
                  </a:lnTo>
                  <a:lnTo>
                    <a:pt x="31" y="66"/>
                  </a:lnTo>
                  <a:lnTo>
                    <a:pt x="33" y="57"/>
                  </a:lnTo>
                  <a:lnTo>
                    <a:pt x="37" y="50"/>
                  </a:lnTo>
                  <a:lnTo>
                    <a:pt x="44" y="44"/>
                  </a:lnTo>
                  <a:lnTo>
                    <a:pt x="50" y="38"/>
                  </a:lnTo>
                  <a:lnTo>
                    <a:pt x="58" y="34"/>
                  </a:lnTo>
                  <a:lnTo>
                    <a:pt x="66" y="31"/>
                  </a:lnTo>
                  <a:lnTo>
                    <a:pt x="75" y="30"/>
                  </a:lnTo>
                  <a:close/>
                  <a:moveTo>
                    <a:pt x="75" y="151"/>
                  </a:moveTo>
                  <a:lnTo>
                    <a:pt x="82" y="150"/>
                  </a:lnTo>
                  <a:lnTo>
                    <a:pt x="90" y="149"/>
                  </a:lnTo>
                  <a:lnTo>
                    <a:pt x="97" y="146"/>
                  </a:lnTo>
                  <a:lnTo>
                    <a:pt x="105" y="144"/>
                  </a:lnTo>
                  <a:lnTo>
                    <a:pt x="111" y="141"/>
                  </a:lnTo>
                  <a:lnTo>
                    <a:pt x="117" y="138"/>
                  </a:lnTo>
                  <a:lnTo>
                    <a:pt x="123" y="134"/>
                  </a:lnTo>
                  <a:lnTo>
                    <a:pt x="128" y="128"/>
                  </a:lnTo>
                  <a:lnTo>
                    <a:pt x="133" y="123"/>
                  </a:lnTo>
                  <a:lnTo>
                    <a:pt x="137" y="118"/>
                  </a:lnTo>
                  <a:lnTo>
                    <a:pt x="141" y="111"/>
                  </a:lnTo>
                  <a:lnTo>
                    <a:pt x="144" y="105"/>
                  </a:lnTo>
                  <a:lnTo>
                    <a:pt x="147" y="97"/>
                  </a:lnTo>
                  <a:lnTo>
                    <a:pt x="149" y="91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7"/>
                  </a:lnTo>
                  <a:lnTo>
                    <a:pt x="149" y="60"/>
                  </a:lnTo>
                  <a:lnTo>
                    <a:pt x="147" y="53"/>
                  </a:lnTo>
                  <a:lnTo>
                    <a:pt x="144" y="46"/>
                  </a:lnTo>
                  <a:lnTo>
                    <a:pt x="141" y="39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8" y="22"/>
                  </a:lnTo>
                  <a:lnTo>
                    <a:pt x="123" y="17"/>
                  </a:lnTo>
                  <a:lnTo>
                    <a:pt x="117" y="12"/>
                  </a:lnTo>
                  <a:lnTo>
                    <a:pt x="111" y="9"/>
                  </a:lnTo>
                  <a:lnTo>
                    <a:pt x="105" y="6"/>
                  </a:lnTo>
                  <a:lnTo>
                    <a:pt x="97" y="4"/>
                  </a:lnTo>
                  <a:lnTo>
                    <a:pt x="90" y="2"/>
                  </a:lnTo>
                  <a:lnTo>
                    <a:pt x="82" y="1"/>
                  </a:lnTo>
                  <a:lnTo>
                    <a:pt x="75" y="0"/>
                  </a:lnTo>
                  <a:lnTo>
                    <a:pt x="67" y="1"/>
                  </a:lnTo>
                  <a:lnTo>
                    <a:pt x="60" y="2"/>
                  </a:lnTo>
                  <a:lnTo>
                    <a:pt x="52" y="4"/>
                  </a:lnTo>
                  <a:lnTo>
                    <a:pt x="46" y="6"/>
                  </a:lnTo>
                  <a:lnTo>
                    <a:pt x="39" y="9"/>
                  </a:lnTo>
                  <a:lnTo>
                    <a:pt x="33" y="12"/>
                  </a:lnTo>
                  <a:lnTo>
                    <a:pt x="28" y="17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6" y="46"/>
                  </a:lnTo>
                  <a:lnTo>
                    <a:pt x="3" y="53"/>
                  </a:lnTo>
                  <a:lnTo>
                    <a:pt x="2" y="60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2" y="91"/>
                  </a:lnTo>
                  <a:lnTo>
                    <a:pt x="3" y="97"/>
                  </a:lnTo>
                  <a:lnTo>
                    <a:pt x="6" y="105"/>
                  </a:lnTo>
                  <a:lnTo>
                    <a:pt x="9" y="111"/>
                  </a:lnTo>
                  <a:lnTo>
                    <a:pt x="13" y="118"/>
                  </a:lnTo>
                  <a:lnTo>
                    <a:pt x="17" y="123"/>
                  </a:lnTo>
                  <a:lnTo>
                    <a:pt x="22" y="128"/>
                  </a:lnTo>
                  <a:lnTo>
                    <a:pt x="28" y="134"/>
                  </a:lnTo>
                  <a:lnTo>
                    <a:pt x="33" y="138"/>
                  </a:lnTo>
                  <a:lnTo>
                    <a:pt x="39" y="141"/>
                  </a:lnTo>
                  <a:lnTo>
                    <a:pt x="46" y="144"/>
                  </a:lnTo>
                  <a:lnTo>
                    <a:pt x="52" y="146"/>
                  </a:lnTo>
                  <a:lnTo>
                    <a:pt x="60" y="149"/>
                  </a:lnTo>
                  <a:lnTo>
                    <a:pt x="67" y="150"/>
                  </a:lnTo>
                  <a:lnTo>
                    <a:pt x="7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90">
              <a:extLst>
                <a:ext uri="{FF2B5EF4-FFF2-40B4-BE49-F238E27FC236}">
                  <a16:creationId xmlns:a16="http://schemas.microsoft.com/office/drawing/2014/main" id="{F0E859F0-18C4-461A-A517-E478AB8381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7450" y="1935163"/>
              <a:ext cx="76200" cy="76200"/>
            </a:xfrm>
            <a:custGeom>
              <a:avLst/>
              <a:gdLst>
                <a:gd name="T0" fmla="*/ 138 w 240"/>
                <a:gd name="T1" fmla="*/ 32 h 241"/>
                <a:gd name="T2" fmla="*/ 163 w 240"/>
                <a:gd name="T3" fmla="*/ 40 h 241"/>
                <a:gd name="T4" fmla="*/ 183 w 240"/>
                <a:gd name="T5" fmla="*/ 56 h 241"/>
                <a:gd name="T6" fmla="*/ 199 w 240"/>
                <a:gd name="T7" fmla="*/ 77 h 241"/>
                <a:gd name="T8" fmla="*/ 208 w 240"/>
                <a:gd name="T9" fmla="*/ 101 h 241"/>
                <a:gd name="T10" fmla="*/ 210 w 240"/>
                <a:gd name="T11" fmla="*/ 129 h 241"/>
                <a:gd name="T12" fmla="*/ 203 w 240"/>
                <a:gd name="T13" fmla="*/ 155 h 241"/>
                <a:gd name="T14" fmla="*/ 190 w 240"/>
                <a:gd name="T15" fmla="*/ 178 h 241"/>
                <a:gd name="T16" fmla="*/ 171 w 240"/>
                <a:gd name="T17" fmla="*/ 195 h 241"/>
                <a:gd name="T18" fmla="*/ 147 w 240"/>
                <a:gd name="T19" fmla="*/ 206 h 241"/>
                <a:gd name="T20" fmla="*/ 120 w 240"/>
                <a:gd name="T21" fmla="*/ 211 h 241"/>
                <a:gd name="T22" fmla="*/ 93 w 240"/>
                <a:gd name="T23" fmla="*/ 206 h 241"/>
                <a:gd name="T24" fmla="*/ 70 w 240"/>
                <a:gd name="T25" fmla="*/ 195 h 241"/>
                <a:gd name="T26" fmla="*/ 50 w 240"/>
                <a:gd name="T27" fmla="*/ 178 h 241"/>
                <a:gd name="T28" fmla="*/ 36 w 240"/>
                <a:gd name="T29" fmla="*/ 155 h 241"/>
                <a:gd name="T30" fmla="*/ 30 w 240"/>
                <a:gd name="T31" fmla="*/ 129 h 241"/>
                <a:gd name="T32" fmla="*/ 31 w 240"/>
                <a:gd name="T33" fmla="*/ 101 h 241"/>
                <a:gd name="T34" fmla="*/ 41 w 240"/>
                <a:gd name="T35" fmla="*/ 77 h 241"/>
                <a:gd name="T36" fmla="*/ 56 w 240"/>
                <a:gd name="T37" fmla="*/ 56 h 241"/>
                <a:gd name="T38" fmla="*/ 77 w 240"/>
                <a:gd name="T39" fmla="*/ 40 h 241"/>
                <a:gd name="T40" fmla="*/ 102 w 240"/>
                <a:gd name="T41" fmla="*/ 32 h 241"/>
                <a:gd name="T42" fmla="*/ 120 w 240"/>
                <a:gd name="T43" fmla="*/ 241 h 241"/>
                <a:gd name="T44" fmla="*/ 155 w 240"/>
                <a:gd name="T45" fmla="*/ 235 h 241"/>
                <a:gd name="T46" fmla="*/ 188 w 240"/>
                <a:gd name="T47" fmla="*/ 219 h 241"/>
                <a:gd name="T48" fmla="*/ 212 w 240"/>
                <a:gd name="T49" fmla="*/ 197 h 241"/>
                <a:gd name="T50" fmla="*/ 231 w 240"/>
                <a:gd name="T51" fmla="*/ 167 h 241"/>
                <a:gd name="T52" fmla="*/ 240 w 240"/>
                <a:gd name="T53" fmla="*/ 132 h 241"/>
                <a:gd name="T54" fmla="*/ 238 w 240"/>
                <a:gd name="T55" fmla="*/ 96 h 241"/>
                <a:gd name="T56" fmla="*/ 226 w 240"/>
                <a:gd name="T57" fmla="*/ 63 h 241"/>
                <a:gd name="T58" fmla="*/ 205 w 240"/>
                <a:gd name="T59" fmla="*/ 35 h 241"/>
                <a:gd name="T60" fmla="*/ 177 w 240"/>
                <a:gd name="T61" fmla="*/ 15 h 241"/>
                <a:gd name="T62" fmla="*/ 144 w 240"/>
                <a:gd name="T63" fmla="*/ 2 h 241"/>
                <a:gd name="T64" fmla="*/ 107 w 240"/>
                <a:gd name="T65" fmla="*/ 1 h 241"/>
                <a:gd name="T66" fmla="*/ 73 w 240"/>
                <a:gd name="T67" fmla="*/ 9 h 241"/>
                <a:gd name="T68" fmla="*/ 44 w 240"/>
                <a:gd name="T69" fmla="*/ 27 h 241"/>
                <a:gd name="T70" fmla="*/ 20 w 240"/>
                <a:gd name="T71" fmla="*/ 53 h 241"/>
                <a:gd name="T72" fmla="*/ 5 w 240"/>
                <a:gd name="T73" fmla="*/ 84 h 241"/>
                <a:gd name="T74" fmla="*/ 0 w 240"/>
                <a:gd name="T75" fmla="*/ 120 h 241"/>
                <a:gd name="T76" fmla="*/ 5 w 240"/>
                <a:gd name="T77" fmla="*/ 156 h 241"/>
                <a:gd name="T78" fmla="*/ 20 w 240"/>
                <a:gd name="T79" fmla="*/ 187 h 241"/>
                <a:gd name="T80" fmla="*/ 44 w 240"/>
                <a:gd name="T81" fmla="*/ 213 h 241"/>
                <a:gd name="T82" fmla="*/ 73 w 240"/>
                <a:gd name="T83" fmla="*/ 231 h 241"/>
                <a:gd name="T84" fmla="*/ 107 w 240"/>
                <a:gd name="T85" fmla="*/ 24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0" h="241">
                  <a:moveTo>
                    <a:pt x="120" y="30"/>
                  </a:moveTo>
                  <a:lnTo>
                    <a:pt x="129" y="31"/>
                  </a:lnTo>
                  <a:lnTo>
                    <a:pt x="138" y="32"/>
                  </a:lnTo>
                  <a:lnTo>
                    <a:pt x="147" y="34"/>
                  </a:lnTo>
                  <a:lnTo>
                    <a:pt x="155" y="37"/>
                  </a:lnTo>
                  <a:lnTo>
                    <a:pt x="163" y="40"/>
                  </a:lnTo>
                  <a:lnTo>
                    <a:pt x="171" y="46"/>
                  </a:lnTo>
                  <a:lnTo>
                    <a:pt x="177" y="50"/>
                  </a:lnTo>
                  <a:lnTo>
                    <a:pt x="183" y="56"/>
                  </a:lnTo>
                  <a:lnTo>
                    <a:pt x="190" y="63"/>
                  </a:lnTo>
                  <a:lnTo>
                    <a:pt x="195" y="69"/>
                  </a:lnTo>
                  <a:lnTo>
                    <a:pt x="199" y="77"/>
                  </a:lnTo>
                  <a:lnTo>
                    <a:pt x="203" y="85"/>
                  </a:lnTo>
                  <a:lnTo>
                    <a:pt x="206" y="93"/>
                  </a:lnTo>
                  <a:lnTo>
                    <a:pt x="208" y="101"/>
                  </a:lnTo>
                  <a:lnTo>
                    <a:pt x="210" y="111"/>
                  </a:lnTo>
                  <a:lnTo>
                    <a:pt x="210" y="120"/>
                  </a:lnTo>
                  <a:lnTo>
                    <a:pt x="210" y="129"/>
                  </a:lnTo>
                  <a:lnTo>
                    <a:pt x="208" y="138"/>
                  </a:lnTo>
                  <a:lnTo>
                    <a:pt x="206" y="146"/>
                  </a:lnTo>
                  <a:lnTo>
                    <a:pt x="203" y="155"/>
                  </a:lnTo>
                  <a:lnTo>
                    <a:pt x="199" y="163"/>
                  </a:lnTo>
                  <a:lnTo>
                    <a:pt x="195" y="170"/>
                  </a:lnTo>
                  <a:lnTo>
                    <a:pt x="190" y="178"/>
                  </a:lnTo>
                  <a:lnTo>
                    <a:pt x="183" y="184"/>
                  </a:lnTo>
                  <a:lnTo>
                    <a:pt x="177" y="189"/>
                  </a:lnTo>
                  <a:lnTo>
                    <a:pt x="171" y="195"/>
                  </a:lnTo>
                  <a:lnTo>
                    <a:pt x="163" y="199"/>
                  </a:lnTo>
                  <a:lnTo>
                    <a:pt x="155" y="203"/>
                  </a:lnTo>
                  <a:lnTo>
                    <a:pt x="147" y="206"/>
                  </a:lnTo>
                  <a:lnTo>
                    <a:pt x="138" y="209"/>
                  </a:lnTo>
                  <a:lnTo>
                    <a:pt x="129" y="210"/>
                  </a:lnTo>
                  <a:lnTo>
                    <a:pt x="120" y="211"/>
                  </a:lnTo>
                  <a:lnTo>
                    <a:pt x="110" y="210"/>
                  </a:lnTo>
                  <a:lnTo>
                    <a:pt x="102" y="209"/>
                  </a:lnTo>
                  <a:lnTo>
                    <a:pt x="93" y="206"/>
                  </a:lnTo>
                  <a:lnTo>
                    <a:pt x="85" y="203"/>
                  </a:lnTo>
                  <a:lnTo>
                    <a:pt x="77" y="199"/>
                  </a:lnTo>
                  <a:lnTo>
                    <a:pt x="70" y="195"/>
                  </a:lnTo>
                  <a:lnTo>
                    <a:pt x="62" y="189"/>
                  </a:lnTo>
                  <a:lnTo>
                    <a:pt x="56" y="184"/>
                  </a:lnTo>
                  <a:lnTo>
                    <a:pt x="50" y="178"/>
                  </a:lnTo>
                  <a:lnTo>
                    <a:pt x="45" y="170"/>
                  </a:lnTo>
                  <a:lnTo>
                    <a:pt x="41" y="164"/>
                  </a:lnTo>
                  <a:lnTo>
                    <a:pt x="36" y="155"/>
                  </a:lnTo>
                  <a:lnTo>
                    <a:pt x="34" y="146"/>
                  </a:lnTo>
                  <a:lnTo>
                    <a:pt x="31" y="138"/>
                  </a:lnTo>
                  <a:lnTo>
                    <a:pt x="30" y="129"/>
                  </a:lnTo>
                  <a:lnTo>
                    <a:pt x="30" y="120"/>
                  </a:lnTo>
                  <a:lnTo>
                    <a:pt x="30" y="111"/>
                  </a:lnTo>
                  <a:lnTo>
                    <a:pt x="31" y="101"/>
                  </a:lnTo>
                  <a:lnTo>
                    <a:pt x="34" y="93"/>
                  </a:lnTo>
                  <a:lnTo>
                    <a:pt x="36" y="85"/>
                  </a:lnTo>
                  <a:lnTo>
                    <a:pt x="41" y="77"/>
                  </a:lnTo>
                  <a:lnTo>
                    <a:pt x="45" y="69"/>
                  </a:lnTo>
                  <a:lnTo>
                    <a:pt x="50" y="63"/>
                  </a:lnTo>
                  <a:lnTo>
                    <a:pt x="56" y="56"/>
                  </a:lnTo>
                  <a:lnTo>
                    <a:pt x="62" y="50"/>
                  </a:lnTo>
                  <a:lnTo>
                    <a:pt x="70" y="46"/>
                  </a:lnTo>
                  <a:lnTo>
                    <a:pt x="77" y="40"/>
                  </a:lnTo>
                  <a:lnTo>
                    <a:pt x="85" y="37"/>
                  </a:lnTo>
                  <a:lnTo>
                    <a:pt x="93" y="34"/>
                  </a:lnTo>
                  <a:lnTo>
                    <a:pt x="102" y="32"/>
                  </a:lnTo>
                  <a:lnTo>
                    <a:pt x="110" y="31"/>
                  </a:lnTo>
                  <a:lnTo>
                    <a:pt x="120" y="30"/>
                  </a:lnTo>
                  <a:close/>
                  <a:moveTo>
                    <a:pt x="120" y="241"/>
                  </a:moveTo>
                  <a:lnTo>
                    <a:pt x="132" y="240"/>
                  </a:lnTo>
                  <a:lnTo>
                    <a:pt x="144" y="238"/>
                  </a:lnTo>
                  <a:lnTo>
                    <a:pt x="155" y="235"/>
                  </a:lnTo>
                  <a:lnTo>
                    <a:pt x="167" y="231"/>
                  </a:lnTo>
                  <a:lnTo>
                    <a:pt x="177" y="226"/>
                  </a:lnTo>
                  <a:lnTo>
                    <a:pt x="188" y="219"/>
                  </a:lnTo>
                  <a:lnTo>
                    <a:pt x="196" y="213"/>
                  </a:lnTo>
                  <a:lnTo>
                    <a:pt x="205" y="205"/>
                  </a:lnTo>
                  <a:lnTo>
                    <a:pt x="212" y="197"/>
                  </a:lnTo>
                  <a:lnTo>
                    <a:pt x="220" y="187"/>
                  </a:lnTo>
                  <a:lnTo>
                    <a:pt x="226" y="178"/>
                  </a:lnTo>
                  <a:lnTo>
                    <a:pt x="231" y="167"/>
                  </a:lnTo>
                  <a:lnTo>
                    <a:pt x="235" y="156"/>
                  </a:lnTo>
                  <a:lnTo>
                    <a:pt x="238" y="144"/>
                  </a:lnTo>
                  <a:lnTo>
                    <a:pt x="240" y="132"/>
                  </a:lnTo>
                  <a:lnTo>
                    <a:pt x="240" y="120"/>
                  </a:lnTo>
                  <a:lnTo>
                    <a:pt x="240" y="108"/>
                  </a:lnTo>
                  <a:lnTo>
                    <a:pt x="238" y="96"/>
                  </a:lnTo>
                  <a:lnTo>
                    <a:pt x="235" y="84"/>
                  </a:lnTo>
                  <a:lnTo>
                    <a:pt x="231" y="74"/>
                  </a:lnTo>
                  <a:lnTo>
                    <a:pt x="226" y="63"/>
                  </a:lnTo>
                  <a:lnTo>
                    <a:pt x="220" y="53"/>
                  </a:lnTo>
                  <a:lnTo>
                    <a:pt x="212" y="43"/>
                  </a:lnTo>
                  <a:lnTo>
                    <a:pt x="205" y="35"/>
                  </a:lnTo>
                  <a:lnTo>
                    <a:pt x="196" y="27"/>
                  </a:lnTo>
                  <a:lnTo>
                    <a:pt x="188" y="20"/>
                  </a:lnTo>
                  <a:lnTo>
                    <a:pt x="177" y="15"/>
                  </a:lnTo>
                  <a:lnTo>
                    <a:pt x="167" y="9"/>
                  </a:lnTo>
                  <a:lnTo>
                    <a:pt x="155" y="5"/>
                  </a:lnTo>
                  <a:lnTo>
                    <a:pt x="144" y="2"/>
                  </a:lnTo>
                  <a:lnTo>
                    <a:pt x="132" y="1"/>
                  </a:lnTo>
                  <a:lnTo>
                    <a:pt x="120" y="0"/>
                  </a:lnTo>
                  <a:lnTo>
                    <a:pt x="107" y="1"/>
                  </a:lnTo>
                  <a:lnTo>
                    <a:pt x="95" y="2"/>
                  </a:lnTo>
                  <a:lnTo>
                    <a:pt x="85" y="5"/>
                  </a:lnTo>
                  <a:lnTo>
                    <a:pt x="73" y="9"/>
                  </a:lnTo>
                  <a:lnTo>
                    <a:pt x="62" y="15"/>
                  </a:lnTo>
                  <a:lnTo>
                    <a:pt x="53" y="20"/>
                  </a:lnTo>
                  <a:lnTo>
                    <a:pt x="44" y="27"/>
                  </a:lnTo>
                  <a:lnTo>
                    <a:pt x="35" y="35"/>
                  </a:lnTo>
                  <a:lnTo>
                    <a:pt x="27" y="43"/>
                  </a:lnTo>
                  <a:lnTo>
                    <a:pt x="20" y="53"/>
                  </a:lnTo>
                  <a:lnTo>
                    <a:pt x="14" y="63"/>
                  </a:lnTo>
                  <a:lnTo>
                    <a:pt x="10" y="74"/>
                  </a:lnTo>
                  <a:lnTo>
                    <a:pt x="5" y="84"/>
                  </a:lnTo>
                  <a:lnTo>
                    <a:pt x="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0" y="132"/>
                  </a:lnTo>
                  <a:lnTo>
                    <a:pt x="2" y="144"/>
                  </a:lnTo>
                  <a:lnTo>
                    <a:pt x="5" y="156"/>
                  </a:lnTo>
                  <a:lnTo>
                    <a:pt x="10" y="167"/>
                  </a:lnTo>
                  <a:lnTo>
                    <a:pt x="14" y="178"/>
                  </a:lnTo>
                  <a:lnTo>
                    <a:pt x="20" y="187"/>
                  </a:lnTo>
                  <a:lnTo>
                    <a:pt x="27" y="197"/>
                  </a:lnTo>
                  <a:lnTo>
                    <a:pt x="35" y="205"/>
                  </a:lnTo>
                  <a:lnTo>
                    <a:pt x="44" y="213"/>
                  </a:lnTo>
                  <a:lnTo>
                    <a:pt x="53" y="219"/>
                  </a:lnTo>
                  <a:lnTo>
                    <a:pt x="62" y="226"/>
                  </a:lnTo>
                  <a:lnTo>
                    <a:pt x="73" y="231"/>
                  </a:lnTo>
                  <a:lnTo>
                    <a:pt x="85" y="235"/>
                  </a:lnTo>
                  <a:lnTo>
                    <a:pt x="95" y="238"/>
                  </a:lnTo>
                  <a:lnTo>
                    <a:pt x="107" y="240"/>
                  </a:lnTo>
                  <a:lnTo>
                    <a:pt x="12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5" name="Rectángulo 3">
            <a:extLst>
              <a:ext uri="{FF2B5EF4-FFF2-40B4-BE49-F238E27FC236}">
                <a16:creationId xmlns:a16="http://schemas.microsoft.com/office/drawing/2014/main" id="{871547C9-58FB-487F-8FC9-63692763B91B}"/>
              </a:ext>
            </a:extLst>
          </p:cNvPr>
          <p:cNvSpPr/>
          <p:nvPr/>
        </p:nvSpPr>
        <p:spPr>
          <a:xfrm>
            <a:off x="6819807" y="4392379"/>
            <a:ext cx="1218937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.9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ut of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46" name="Rectángulo 3">
            <a:extLst>
              <a:ext uri="{FF2B5EF4-FFF2-40B4-BE49-F238E27FC236}">
                <a16:creationId xmlns:a16="http://schemas.microsoft.com/office/drawing/2014/main" id="{980B47E8-9158-49EE-A80C-49FB36392637}"/>
              </a:ext>
            </a:extLst>
          </p:cNvPr>
          <p:cNvSpPr/>
          <p:nvPr/>
        </p:nvSpPr>
        <p:spPr>
          <a:xfrm>
            <a:off x="6819807" y="4789055"/>
            <a:ext cx="1218937" cy="21544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74 reviews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8CDB0C8-710B-4DE0-A1E0-95C25ABC78E3}"/>
              </a:ext>
            </a:extLst>
          </p:cNvPr>
          <p:cNvGrpSpPr/>
          <p:nvPr/>
        </p:nvGrpSpPr>
        <p:grpSpPr>
          <a:xfrm>
            <a:off x="8734712" y="4479625"/>
            <a:ext cx="1173954" cy="188966"/>
            <a:chOff x="8983625" y="4479625"/>
            <a:chExt cx="1173954" cy="188966"/>
          </a:xfrm>
        </p:grpSpPr>
        <p:sp>
          <p:nvSpPr>
            <p:cNvPr id="48" name="Freeform 3027">
              <a:extLst>
                <a:ext uri="{FF2B5EF4-FFF2-40B4-BE49-F238E27FC236}">
                  <a16:creationId xmlns:a16="http://schemas.microsoft.com/office/drawing/2014/main" id="{FFBD4DD8-65C6-4471-950E-9DC59C28A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3625" y="4482853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3027">
              <a:extLst>
                <a:ext uri="{FF2B5EF4-FFF2-40B4-BE49-F238E27FC236}">
                  <a16:creationId xmlns:a16="http://schemas.microsoft.com/office/drawing/2014/main" id="{B0D3F2D4-2942-4393-9A16-ADC662624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6710" y="4482853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3027">
              <a:extLst>
                <a:ext uri="{FF2B5EF4-FFF2-40B4-BE49-F238E27FC236}">
                  <a16:creationId xmlns:a16="http://schemas.microsoft.com/office/drawing/2014/main" id="{5F465F53-FB20-4EEC-8126-895C3F380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9795" y="4482853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3027">
              <a:extLst>
                <a:ext uri="{FF2B5EF4-FFF2-40B4-BE49-F238E27FC236}">
                  <a16:creationId xmlns:a16="http://schemas.microsoft.com/office/drawing/2014/main" id="{D4A9623D-9B7F-40BC-8DEA-709CC618F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880" y="4479625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3027">
              <a:extLst>
                <a:ext uri="{FF2B5EF4-FFF2-40B4-BE49-F238E27FC236}">
                  <a16:creationId xmlns:a16="http://schemas.microsoft.com/office/drawing/2014/main" id="{BA2334E8-1C5C-42C1-A9DB-CBEC305F1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5966" y="4479625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3" name="Rectángulo 3">
            <a:extLst>
              <a:ext uri="{FF2B5EF4-FFF2-40B4-BE49-F238E27FC236}">
                <a16:creationId xmlns:a16="http://schemas.microsoft.com/office/drawing/2014/main" id="{9DBAA1D5-D86D-46C8-AAD3-8CC76E1DBD9B}"/>
              </a:ext>
            </a:extLst>
          </p:cNvPr>
          <p:cNvSpPr/>
          <p:nvPr/>
        </p:nvSpPr>
        <p:spPr>
          <a:xfrm>
            <a:off x="8734712" y="4789056"/>
            <a:ext cx="1218937" cy="21544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.9 stars I 221 reviews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4" name="Rectángulo 3">
            <a:extLst>
              <a:ext uri="{FF2B5EF4-FFF2-40B4-BE49-F238E27FC236}">
                <a16:creationId xmlns:a16="http://schemas.microsoft.com/office/drawing/2014/main" id="{6C776E3F-7C65-497C-A3AD-F6296409EB9D}"/>
              </a:ext>
            </a:extLst>
          </p:cNvPr>
          <p:cNvSpPr/>
          <p:nvPr/>
        </p:nvSpPr>
        <p:spPr>
          <a:xfrm>
            <a:off x="10515207" y="4789056"/>
            <a:ext cx="1218937" cy="21544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.5 stars I 400 reviews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091818A-3E9D-45F8-B289-55458CAB42E7}"/>
              </a:ext>
            </a:extLst>
          </p:cNvPr>
          <p:cNvGrpSpPr/>
          <p:nvPr/>
        </p:nvGrpSpPr>
        <p:grpSpPr>
          <a:xfrm>
            <a:off x="10515207" y="4479625"/>
            <a:ext cx="1173955" cy="188966"/>
            <a:chOff x="10764120" y="4479625"/>
            <a:chExt cx="1173955" cy="188966"/>
          </a:xfrm>
        </p:grpSpPr>
        <p:sp>
          <p:nvSpPr>
            <p:cNvPr id="56" name="Freeform 3027">
              <a:extLst>
                <a:ext uri="{FF2B5EF4-FFF2-40B4-BE49-F238E27FC236}">
                  <a16:creationId xmlns:a16="http://schemas.microsoft.com/office/drawing/2014/main" id="{52850C1E-D74C-45D3-B446-5092BF33E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4120" y="4482853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3027">
              <a:extLst>
                <a:ext uri="{FF2B5EF4-FFF2-40B4-BE49-F238E27FC236}">
                  <a16:creationId xmlns:a16="http://schemas.microsoft.com/office/drawing/2014/main" id="{CB358CC8-8304-4512-A918-07C79F11B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7205" y="4482853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3027">
              <a:extLst>
                <a:ext uri="{FF2B5EF4-FFF2-40B4-BE49-F238E27FC236}">
                  <a16:creationId xmlns:a16="http://schemas.microsoft.com/office/drawing/2014/main" id="{5BB882D1-1BEE-41E0-90E8-173CA6217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50290" y="4482853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3027">
              <a:extLst>
                <a:ext uri="{FF2B5EF4-FFF2-40B4-BE49-F238E27FC236}">
                  <a16:creationId xmlns:a16="http://schemas.microsoft.com/office/drawing/2014/main" id="{D76A4B37-C02C-4C76-ABB4-A2D863303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3375" y="4479625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451C97F-F5E2-4AA1-9290-504AC831443E}"/>
                </a:ext>
              </a:extLst>
            </p:cNvPr>
            <p:cNvSpPr/>
            <p:nvPr/>
          </p:nvSpPr>
          <p:spPr>
            <a:xfrm>
              <a:off x="11835918" y="4479625"/>
              <a:ext cx="102157" cy="185738"/>
            </a:xfrm>
            <a:custGeom>
              <a:avLst/>
              <a:gdLst>
                <a:gd name="connsiteX0" fmla="*/ 1549 w 102157"/>
                <a:gd name="connsiteY0" fmla="*/ 0 h 185738"/>
                <a:gd name="connsiteX1" fmla="*/ 33236 w 102157"/>
                <a:gd name="connsiteY1" fmla="*/ 58466 h 185738"/>
                <a:gd name="connsiteX2" fmla="*/ 102157 w 102157"/>
                <a:gd name="connsiteY2" fmla="*/ 69205 h 185738"/>
                <a:gd name="connsiteX3" fmla="*/ 49080 w 102157"/>
                <a:gd name="connsiteY3" fmla="*/ 116534 h 185738"/>
                <a:gd name="connsiteX4" fmla="*/ 64132 w 102157"/>
                <a:gd name="connsiteY4" fmla="*/ 185738 h 185738"/>
                <a:gd name="connsiteX5" fmla="*/ 1549 w 102157"/>
                <a:gd name="connsiteY5" fmla="*/ 153920 h 185738"/>
                <a:gd name="connsiteX6" fmla="*/ 0 w 102157"/>
                <a:gd name="connsiteY6" fmla="*/ 154688 h 185738"/>
                <a:gd name="connsiteX7" fmla="*/ 0 w 102157"/>
                <a:gd name="connsiteY7" fmla="*/ 2858 h 185738"/>
                <a:gd name="connsiteX8" fmla="*/ 1549 w 102157"/>
                <a:gd name="connsiteY8" fmla="*/ 0 h 18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157" h="185738">
                  <a:moveTo>
                    <a:pt x="1549" y="0"/>
                  </a:moveTo>
                  <a:lnTo>
                    <a:pt x="33236" y="58466"/>
                  </a:lnTo>
                  <a:lnTo>
                    <a:pt x="102157" y="69205"/>
                  </a:lnTo>
                  <a:lnTo>
                    <a:pt x="49080" y="116534"/>
                  </a:lnTo>
                  <a:lnTo>
                    <a:pt x="64132" y="185738"/>
                  </a:lnTo>
                  <a:lnTo>
                    <a:pt x="1549" y="153920"/>
                  </a:lnTo>
                  <a:lnTo>
                    <a:pt x="0" y="154688"/>
                  </a:lnTo>
                  <a:lnTo>
                    <a:pt x="0" y="2858"/>
                  </a:lnTo>
                  <a:lnTo>
                    <a:pt x="1549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BD692636-51CF-43DF-AC94-A39672DF1F52}"/>
                </a:ext>
              </a:extLst>
            </p:cNvPr>
            <p:cNvSpPr/>
            <p:nvPr/>
          </p:nvSpPr>
          <p:spPr>
            <a:xfrm>
              <a:off x="11736461" y="4482483"/>
              <a:ext cx="99456" cy="182880"/>
            </a:xfrm>
            <a:custGeom>
              <a:avLst/>
              <a:gdLst>
                <a:gd name="connsiteX0" fmla="*/ 99456 w 99456"/>
                <a:gd name="connsiteY0" fmla="*/ 0 h 182880"/>
                <a:gd name="connsiteX1" fmla="*/ 99456 w 99456"/>
                <a:gd name="connsiteY1" fmla="*/ 151830 h 182880"/>
                <a:gd name="connsiteX2" fmla="*/ 36837 w 99456"/>
                <a:gd name="connsiteY2" fmla="*/ 182880 h 182880"/>
                <a:gd name="connsiteX3" fmla="*/ 53077 w 99456"/>
                <a:gd name="connsiteY3" fmla="*/ 113676 h 182880"/>
                <a:gd name="connsiteX4" fmla="*/ 0 w 99456"/>
                <a:gd name="connsiteY4" fmla="*/ 66347 h 182880"/>
                <a:gd name="connsiteX5" fmla="*/ 69317 w 99456"/>
                <a:gd name="connsiteY5" fmla="*/ 55608 h 182880"/>
                <a:gd name="connsiteX6" fmla="*/ 99456 w 99456"/>
                <a:gd name="connsiteY6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456" h="182880">
                  <a:moveTo>
                    <a:pt x="99456" y="0"/>
                  </a:moveTo>
                  <a:lnTo>
                    <a:pt x="99456" y="151830"/>
                  </a:lnTo>
                  <a:lnTo>
                    <a:pt x="36837" y="182880"/>
                  </a:lnTo>
                  <a:lnTo>
                    <a:pt x="53077" y="113676"/>
                  </a:lnTo>
                  <a:lnTo>
                    <a:pt x="0" y="66347"/>
                  </a:lnTo>
                  <a:lnTo>
                    <a:pt x="69317" y="55608"/>
                  </a:lnTo>
                  <a:lnTo>
                    <a:pt x="9945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76291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08CD18-3EA9-46D5-B3A3-5F28F0E77B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155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853C6113-2AF8-418D-AC78-992A77D330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sym typeface="+mn-lt"/>
            </a:endParaRPr>
          </a:p>
        </p:txBody>
      </p:sp>
      <p:pic>
        <p:nvPicPr>
          <p:cNvPr id="63" name="Picture 62" descr="A desktop computer sitting on top of a desk&#10;&#10;Description automatically generated">
            <a:extLst>
              <a:ext uri="{FF2B5EF4-FFF2-40B4-BE49-F238E27FC236}">
                <a16:creationId xmlns:a16="http://schemas.microsoft.com/office/drawing/2014/main" id="{A6650369-A5EC-453D-BA56-C0F251229C1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9835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C6597359-BBC7-42F3-90B3-BE30BEF2F7F9}"/>
              </a:ext>
            </a:extLst>
          </p:cNvPr>
          <p:cNvSpPr/>
          <p:nvPr/>
        </p:nvSpPr>
        <p:spPr>
          <a:xfrm>
            <a:off x="0" y="0"/>
            <a:ext cx="12192000" cy="5314950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5ADB0D-84F6-44A8-8EB6-2C77AB33B105}"/>
              </a:ext>
            </a:extLst>
          </p:cNvPr>
          <p:cNvSpPr/>
          <p:nvPr/>
        </p:nvSpPr>
        <p:spPr>
          <a:xfrm>
            <a:off x="457200" y="1314450"/>
            <a:ext cx="3672840" cy="245745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A718B2-28DA-4CBD-B227-2D4A16763998}"/>
              </a:ext>
            </a:extLst>
          </p:cNvPr>
          <p:cNvSpPr/>
          <p:nvPr/>
        </p:nvSpPr>
        <p:spPr>
          <a:xfrm>
            <a:off x="4259580" y="1314450"/>
            <a:ext cx="3672840" cy="245745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7D9ACD3-AF66-4FD1-888A-A715AF590D81}"/>
              </a:ext>
            </a:extLst>
          </p:cNvPr>
          <p:cNvSpPr/>
          <p:nvPr/>
        </p:nvSpPr>
        <p:spPr>
          <a:xfrm>
            <a:off x="8061960" y="1314450"/>
            <a:ext cx="3672840" cy="245745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46395C2A-FF59-4BE9-A2E5-0CD67AB1FB5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6452804"/>
              </p:ext>
            </p:extLst>
          </p:nvPr>
        </p:nvGraphicFramePr>
        <p:xfrm>
          <a:off x="654454" y="1442821"/>
          <a:ext cx="3310081" cy="22181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Content Placeholder 14">
            <a:extLst>
              <a:ext uri="{FF2B5EF4-FFF2-40B4-BE49-F238E27FC236}">
                <a16:creationId xmlns:a16="http://schemas.microsoft.com/office/drawing/2014/main" id="{A3E5737C-99BC-4D43-81E2-D3FA7E8728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8017465"/>
              </p:ext>
            </p:extLst>
          </p:nvPr>
        </p:nvGraphicFramePr>
        <p:xfrm>
          <a:off x="4440960" y="1442821"/>
          <a:ext cx="3310081" cy="22181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Content Placeholder 14">
            <a:extLst>
              <a:ext uri="{FF2B5EF4-FFF2-40B4-BE49-F238E27FC236}">
                <a16:creationId xmlns:a16="http://schemas.microsoft.com/office/drawing/2014/main" id="{56977F6E-0962-4CAF-8C42-7CF10053E3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1399239"/>
              </p:ext>
            </p:extLst>
          </p:nvPr>
        </p:nvGraphicFramePr>
        <p:xfrm>
          <a:off x="8259215" y="1442821"/>
          <a:ext cx="3310081" cy="22181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49AB018-90E6-438C-80F1-4F4379A60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ummar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2DC851A-34D0-4C24-9F74-4409DE56DFD4}"/>
              </a:ext>
            </a:extLst>
          </p:cNvPr>
          <p:cNvSpPr/>
          <p:nvPr/>
        </p:nvSpPr>
        <p:spPr>
          <a:xfrm>
            <a:off x="488576" y="4019550"/>
            <a:ext cx="11277591" cy="24399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37F39529-A9A4-409B-877F-F6E298052B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7787381"/>
              </p:ext>
            </p:extLst>
          </p:nvPr>
        </p:nvGraphicFramePr>
        <p:xfrm>
          <a:off x="725736" y="4171950"/>
          <a:ext cx="7268540" cy="228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42" name="Oval 41">
            <a:extLst>
              <a:ext uri="{FF2B5EF4-FFF2-40B4-BE49-F238E27FC236}">
                <a16:creationId xmlns:a16="http://schemas.microsoft.com/office/drawing/2014/main" id="{EEB9F408-642C-4BB3-9020-897B309A0928}"/>
              </a:ext>
            </a:extLst>
          </p:cNvPr>
          <p:cNvSpPr/>
          <p:nvPr/>
        </p:nvSpPr>
        <p:spPr>
          <a:xfrm>
            <a:off x="8231436" y="4332748"/>
            <a:ext cx="381666" cy="381666"/>
          </a:xfrm>
          <a:prstGeom prst="ellipse">
            <a:avLst/>
          </a:prstGeom>
          <a:solidFill>
            <a:srgbClr val="EFE405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84D46A5C-AE63-46A9-BB9E-2E4BBC5750E1}"/>
              </a:ext>
            </a:extLst>
          </p:cNvPr>
          <p:cNvSpPr/>
          <p:nvPr/>
        </p:nvSpPr>
        <p:spPr>
          <a:xfrm>
            <a:off x="8231436" y="5046292"/>
            <a:ext cx="381666" cy="381666"/>
          </a:xfrm>
          <a:prstGeom prst="ellipse">
            <a:avLst/>
          </a:prstGeom>
          <a:solidFill>
            <a:srgbClr val="EFE405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7822F9C1-ACEE-4394-B0F9-17D3A27BBCD3}"/>
              </a:ext>
            </a:extLst>
          </p:cNvPr>
          <p:cNvSpPr/>
          <p:nvPr/>
        </p:nvSpPr>
        <p:spPr>
          <a:xfrm>
            <a:off x="8231436" y="5759837"/>
            <a:ext cx="381666" cy="381666"/>
          </a:xfrm>
          <a:prstGeom prst="ellipse">
            <a:avLst/>
          </a:prstGeom>
          <a:solidFill>
            <a:srgbClr val="EFE405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itle 3">
            <a:extLst>
              <a:ext uri="{FF2B5EF4-FFF2-40B4-BE49-F238E27FC236}">
                <a16:creationId xmlns:a16="http://schemas.microsoft.com/office/drawing/2014/main" id="{25C90F8B-F80F-4104-9A0D-AD6B1BB3A7BC}"/>
              </a:ext>
            </a:extLst>
          </p:cNvPr>
          <p:cNvSpPr txBox="1">
            <a:spLocks/>
          </p:cNvSpPr>
          <p:nvPr/>
        </p:nvSpPr>
        <p:spPr>
          <a:xfrm>
            <a:off x="8850262" y="4332748"/>
            <a:ext cx="2647377" cy="381667"/>
          </a:xfrm>
          <a:prstGeom prst="rect">
            <a:avLst/>
          </a:prstGeom>
          <a:noFill/>
        </p:spPr>
        <p:txBody>
          <a:bodyPr vert="horz" lIns="0" tIns="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46" name="Title 3">
            <a:extLst>
              <a:ext uri="{FF2B5EF4-FFF2-40B4-BE49-F238E27FC236}">
                <a16:creationId xmlns:a16="http://schemas.microsoft.com/office/drawing/2014/main" id="{8FDB35E6-D796-4983-8B57-52F13691E3EE}"/>
              </a:ext>
            </a:extLst>
          </p:cNvPr>
          <p:cNvSpPr txBox="1">
            <a:spLocks/>
          </p:cNvSpPr>
          <p:nvPr/>
        </p:nvSpPr>
        <p:spPr>
          <a:xfrm>
            <a:off x="8850262" y="5084429"/>
            <a:ext cx="2647377" cy="381667"/>
          </a:xfrm>
          <a:prstGeom prst="rect">
            <a:avLst/>
          </a:prstGeom>
          <a:noFill/>
        </p:spPr>
        <p:txBody>
          <a:bodyPr vert="horz" lIns="0" tIns="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47" name="Title 3">
            <a:extLst>
              <a:ext uri="{FF2B5EF4-FFF2-40B4-BE49-F238E27FC236}">
                <a16:creationId xmlns:a16="http://schemas.microsoft.com/office/drawing/2014/main" id="{570E946F-8DDF-4397-A08D-1BAA4A614C21}"/>
              </a:ext>
            </a:extLst>
          </p:cNvPr>
          <p:cNvSpPr txBox="1">
            <a:spLocks/>
          </p:cNvSpPr>
          <p:nvPr/>
        </p:nvSpPr>
        <p:spPr>
          <a:xfrm>
            <a:off x="8850262" y="5771983"/>
            <a:ext cx="2647377" cy="381667"/>
          </a:xfrm>
          <a:prstGeom prst="rect">
            <a:avLst/>
          </a:prstGeom>
          <a:noFill/>
        </p:spPr>
        <p:txBody>
          <a:bodyPr vert="horz" lIns="0" tIns="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B075D72-5CEA-4895-A358-C30547836CDE}"/>
              </a:ext>
            </a:extLst>
          </p:cNvPr>
          <p:cNvCxnSpPr>
            <a:cxnSpLocks/>
          </p:cNvCxnSpPr>
          <p:nvPr/>
        </p:nvCxnSpPr>
        <p:spPr>
          <a:xfrm>
            <a:off x="8252460" y="4861560"/>
            <a:ext cx="316992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8C0247D-B10E-42E6-A621-2621705204AF}"/>
              </a:ext>
            </a:extLst>
          </p:cNvPr>
          <p:cNvCxnSpPr>
            <a:cxnSpLocks/>
          </p:cNvCxnSpPr>
          <p:nvPr/>
        </p:nvCxnSpPr>
        <p:spPr>
          <a:xfrm>
            <a:off x="8252460" y="5608320"/>
            <a:ext cx="316992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0FED14A-CF5B-4E41-9D8D-B67DFD37D32F}"/>
              </a:ext>
            </a:extLst>
          </p:cNvPr>
          <p:cNvGrpSpPr/>
          <p:nvPr/>
        </p:nvGrpSpPr>
        <p:grpSpPr>
          <a:xfrm>
            <a:off x="8324594" y="4421426"/>
            <a:ext cx="195351" cy="204311"/>
            <a:chOff x="2676526" y="5394325"/>
            <a:chExt cx="346075" cy="361950"/>
          </a:xfrm>
          <a:solidFill>
            <a:schemeClr val="bg1"/>
          </a:solidFill>
        </p:grpSpPr>
        <p:sp>
          <p:nvSpPr>
            <p:cNvPr id="55" name="Freeform 118">
              <a:extLst>
                <a:ext uri="{FF2B5EF4-FFF2-40B4-BE49-F238E27FC236}">
                  <a16:creationId xmlns:a16="http://schemas.microsoft.com/office/drawing/2014/main" id="{DE36690F-0E66-4309-A85C-BA927B0B00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526" y="5394325"/>
              <a:ext cx="346075" cy="46038"/>
            </a:xfrm>
            <a:custGeom>
              <a:avLst/>
              <a:gdLst>
                <a:gd name="T0" fmla="*/ 92 w 92"/>
                <a:gd name="T1" fmla="*/ 12 h 12"/>
                <a:gd name="T2" fmla="*/ 92 w 92"/>
                <a:gd name="T3" fmla="*/ 2 h 12"/>
                <a:gd name="T4" fmla="*/ 90 w 92"/>
                <a:gd name="T5" fmla="*/ 0 h 12"/>
                <a:gd name="T6" fmla="*/ 2 w 92"/>
                <a:gd name="T7" fmla="*/ 0 h 12"/>
                <a:gd name="T8" fmla="*/ 0 w 92"/>
                <a:gd name="T9" fmla="*/ 2 h 12"/>
                <a:gd name="T10" fmla="*/ 0 w 92"/>
                <a:gd name="T11" fmla="*/ 12 h 12"/>
                <a:gd name="T12" fmla="*/ 92 w 9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2">
                  <a:moveTo>
                    <a:pt x="92" y="12"/>
                  </a:move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2"/>
                    <a:pt x="0" y="12"/>
                    <a:pt x="0" y="12"/>
                  </a:cubicBezTo>
                  <a:lnTo>
                    <a:pt x="9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119">
              <a:extLst>
                <a:ext uri="{FF2B5EF4-FFF2-40B4-BE49-F238E27FC236}">
                  <a16:creationId xmlns:a16="http://schemas.microsoft.com/office/drawing/2014/main" id="{7986F925-9F94-42C3-AA86-EABDE893FE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526" y="5454650"/>
              <a:ext cx="346075" cy="301625"/>
            </a:xfrm>
            <a:custGeom>
              <a:avLst/>
              <a:gdLst>
                <a:gd name="T0" fmla="*/ 90 w 92"/>
                <a:gd name="T1" fmla="*/ 52 h 80"/>
                <a:gd name="T2" fmla="*/ 84 w 92"/>
                <a:gd name="T3" fmla="*/ 52 h 80"/>
                <a:gd name="T4" fmla="*/ 84 w 92"/>
                <a:gd name="T5" fmla="*/ 0 h 80"/>
                <a:gd name="T6" fmla="*/ 8 w 92"/>
                <a:gd name="T7" fmla="*/ 0 h 80"/>
                <a:gd name="T8" fmla="*/ 8 w 92"/>
                <a:gd name="T9" fmla="*/ 52 h 80"/>
                <a:gd name="T10" fmla="*/ 2 w 92"/>
                <a:gd name="T11" fmla="*/ 52 h 80"/>
                <a:gd name="T12" fmla="*/ 0 w 92"/>
                <a:gd name="T13" fmla="*/ 54 h 80"/>
                <a:gd name="T14" fmla="*/ 2 w 92"/>
                <a:gd name="T15" fmla="*/ 56 h 80"/>
                <a:gd name="T16" fmla="*/ 44 w 92"/>
                <a:gd name="T17" fmla="*/ 56 h 80"/>
                <a:gd name="T18" fmla="*/ 44 w 92"/>
                <a:gd name="T19" fmla="*/ 64 h 80"/>
                <a:gd name="T20" fmla="*/ 38 w 92"/>
                <a:gd name="T21" fmla="*/ 72 h 80"/>
                <a:gd name="T22" fmla="*/ 46 w 92"/>
                <a:gd name="T23" fmla="*/ 80 h 80"/>
                <a:gd name="T24" fmla="*/ 54 w 92"/>
                <a:gd name="T25" fmla="*/ 72 h 80"/>
                <a:gd name="T26" fmla="*/ 48 w 92"/>
                <a:gd name="T27" fmla="*/ 64 h 80"/>
                <a:gd name="T28" fmla="*/ 48 w 92"/>
                <a:gd name="T29" fmla="*/ 56 h 80"/>
                <a:gd name="T30" fmla="*/ 90 w 92"/>
                <a:gd name="T31" fmla="*/ 56 h 80"/>
                <a:gd name="T32" fmla="*/ 92 w 92"/>
                <a:gd name="T33" fmla="*/ 54 h 80"/>
                <a:gd name="T34" fmla="*/ 90 w 92"/>
                <a:gd name="T35" fmla="*/ 52 h 80"/>
                <a:gd name="T36" fmla="*/ 34 w 92"/>
                <a:gd name="T37" fmla="*/ 44 h 80"/>
                <a:gd name="T38" fmla="*/ 16 w 92"/>
                <a:gd name="T39" fmla="*/ 26 h 80"/>
                <a:gd name="T40" fmla="*/ 23 w 92"/>
                <a:gd name="T41" fmla="*/ 11 h 80"/>
                <a:gd name="T42" fmla="*/ 32 w 92"/>
                <a:gd name="T43" fmla="*/ 27 h 80"/>
                <a:gd name="T44" fmla="*/ 35 w 92"/>
                <a:gd name="T45" fmla="*/ 44 h 80"/>
                <a:gd name="T46" fmla="*/ 34 w 92"/>
                <a:gd name="T47" fmla="*/ 44 h 80"/>
                <a:gd name="T48" fmla="*/ 50 w 92"/>
                <a:gd name="T49" fmla="*/ 72 h 80"/>
                <a:gd name="T50" fmla="*/ 46 w 92"/>
                <a:gd name="T51" fmla="*/ 76 h 80"/>
                <a:gd name="T52" fmla="*/ 42 w 92"/>
                <a:gd name="T53" fmla="*/ 72 h 80"/>
                <a:gd name="T54" fmla="*/ 46 w 92"/>
                <a:gd name="T55" fmla="*/ 68 h 80"/>
                <a:gd name="T56" fmla="*/ 50 w 92"/>
                <a:gd name="T57" fmla="*/ 72 h 80"/>
                <a:gd name="T58" fmla="*/ 39 w 92"/>
                <a:gd name="T59" fmla="*/ 43 h 80"/>
                <a:gd name="T60" fmla="*/ 36 w 92"/>
                <a:gd name="T61" fmla="*/ 28 h 80"/>
                <a:gd name="T62" fmla="*/ 52 w 92"/>
                <a:gd name="T63" fmla="*/ 28 h 80"/>
                <a:gd name="T64" fmla="*/ 39 w 92"/>
                <a:gd name="T65" fmla="*/ 43 h 80"/>
                <a:gd name="T66" fmla="*/ 35 w 92"/>
                <a:gd name="T67" fmla="*/ 24 h 80"/>
                <a:gd name="T68" fmla="*/ 27 w 92"/>
                <a:gd name="T69" fmla="*/ 9 h 80"/>
                <a:gd name="T70" fmla="*/ 34 w 92"/>
                <a:gd name="T71" fmla="*/ 8 h 80"/>
                <a:gd name="T72" fmla="*/ 52 w 92"/>
                <a:gd name="T73" fmla="*/ 24 h 80"/>
                <a:gd name="T74" fmla="*/ 35 w 92"/>
                <a:gd name="T75" fmla="*/ 24 h 80"/>
                <a:gd name="T76" fmla="*/ 74 w 92"/>
                <a:gd name="T77" fmla="*/ 28 h 80"/>
                <a:gd name="T78" fmla="*/ 62 w 92"/>
                <a:gd name="T79" fmla="*/ 28 h 80"/>
                <a:gd name="T80" fmla="*/ 60 w 92"/>
                <a:gd name="T81" fmla="*/ 26 h 80"/>
                <a:gd name="T82" fmla="*/ 62 w 92"/>
                <a:gd name="T83" fmla="*/ 24 h 80"/>
                <a:gd name="T84" fmla="*/ 74 w 92"/>
                <a:gd name="T85" fmla="*/ 24 h 80"/>
                <a:gd name="T86" fmla="*/ 76 w 92"/>
                <a:gd name="T87" fmla="*/ 26 h 80"/>
                <a:gd name="T88" fmla="*/ 74 w 92"/>
                <a:gd name="T89" fmla="*/ 28 h 80"/>
                <a:gd name="T90" fmla="*/ 74 w 92"/>
                <a:gd name="T91" fmla="*/ 20 h 80"/>
                <a:gd name="T92" fmla="*/ 62 w 92"/>
                <a:gd name="T93" fmla="*/ 20 h 80"/>
                <a:gd name="T94" fmla="*/ 60 w 92"/>
                <a:gd name="T95" fmla="*/ 18 h 80"/>
                <a:gd name="T96" fmla="*/ 62 w 92"/>
                <a:gd name="T97" fmla="*/ 16 h 80"/>
                <a:gd name="T98" fmla="*/ 74 w 92"/>
                <a:gd name="T99" fmla="*/ 16 h 80"/>
                <a:gd name="T100" fmla="*/ 76 w 92"/>
                <a:gd name="T101" fmla="*/ 18 h 80"/>
                <a:gd name="T102" fmla="*/ 74 w 92"/>
                <a:gd name="T103" fmla="*/ 20 h 80"/>
                <a:gd name="T104" fmla="*/ 74 w 92"/>
                <a:gd name="T105" fmla="*/ 12 h 80"/>
                <a:gd name="T106" fmla="*/ 62 w 92"/>
                <a:gd name="T107" fmla="*/ 12 h 80"/>
                <a:gd name="T108" fmla="*/ 60 w 92"/>
                <a:gd name="T109" fmla="*/ 10 h 80"/>
                <a:gd name="T110" fmla="*/ 62 w 92"/>
                <a:gd name="T111" fmla="*/ 8 h 80"/>
                <a:gd name="T112" fmla="*/ 74 w 92"/>
                <a:gd name="T113" fmla="*/ 8 h 80"/>
                <a:gd name="T114" fmla="*/ 76 w 92"/>
                <a:gd name="T115" fmla="*/ 10 h 80"/>
                <a:gd name="T116" fmla="*/ 74 w 92"/>
                <a:gd name="T117" fmla="*/ 1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2" h="80">
                  <a:moveTo>
                    <a:pt x="90" y="52"/>
                  </a:moveTo>
                  <a:cubicBezTo>
                    <a:pt x="84" y="52"/>
                    <a:pt x="84" y="52"/>
                    <a:pt x="84" y="5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1" y="52"/>
                    <a:pt x="0" y="53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1" y="65"/>
                    <a:pt x="38" y="68"/>
                    <a:pt x="38" y="72"/>
                  </a:cubicBezTo>
                  <a:cubicBezTo>
                    <a:pt x="38" y="76"/>
                    <a:pt x="42" y="80"/>
                    <a:pt x="46" y="80"/>
                  </a:cubicBezTo>
                  <a:cubicBezTo>
                    <a:pt x="50" y="80"/>
                    <a:pt x="54" y="76"/>
                    <a:pt x="54" y="72"/>
                  </a:cubicBezTo>
                  <a:cubicBezTo>
                    <a:pt x="54" y="68"/>
                    <a:pt x="51" y="65"/>
                    <a:pt x="48" y="64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2" y="55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lose/>
                  <a:moveTo>
                    <a:pt x="34" y="44"/>
                  </a:moveTo>
                  <a:cubicBezTo>
                    <a:pt x="24" y="44"/>
                    <a:pt x="16" y="36"/>
                    <a:pt x="16" y="26"/>
                  </a:cubicBezTo>
                  <a:cubicBezTo>
                    <a:pt x="16" y="20"/>
                    <a:pt x="19" y="15"/>
                    <a:pt x="23" y="11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4"/>
                    <a:pt x="34" y="44"/>
                    <a:pt x="34" y="44"/>
                  </a:cubicBezTo>
                  <a:close/>
                  <a:moveTo>
                    <a:pt x="50" y="72"/>
                  </a:moveTo>
                  <a:cubicBezTo>
                    <a:pt x="50" y="74"/>
                    <a:pt x="48" y="76"/>
                    <a:pt x="46" y="76"/>
                  </a:cubicBezTo>
                  <a:cubicBezTo>
                    <a:pt x="44" y="76"/>
                    <a:pt x="42" y="74"/>
                    <a:pt x="42" y="72"/>
                  </a:cubicBezTo>
                  <a:cubicBezTo>
                    <a:pt x="42" y="70"/>
                    <a:pt x="44" y="68"/>
                    <a:pt x="46" y="68"/>
                  </a:cubicBezTo>
                  <a:cubicBezTo>
                    <a:pt x="48" y="68"/>
                    <a:pt x="50" y="70"/>
                    <a:pt x="50" y="72"/>
                  </a:cubicBezTo>
                  <a:close/>
                  <a:moveTo>
                    <a:pt x="39" y="43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1" y="35"/>
                    <a:pt x="46" y="41"/>
                    <a:pt x="39" y="43"/>
                  </a:cubicBezTo>
                  <a:close/>
                  <a:moveTo>
                    <a:pt x="35" y="24"/>
                  </a:moveTo>
                  <a:cubicBezTo>
                    <a:pt x="27" y="9"/>
                    <a:pt x="27" y="9"/>
                    <a:pt x="27" y="9"/>
                  </a:cubicBezTo>
                  <a:cubicBezTo>
                    <a:pt x="29" y="9"/>
                    <a:pt x="31" y="8"/>
                    <a:pt x="34" y="8"/>
                  </a:cubicBezTo>
                  <a:cubicBezTo>
                    <a:pt x="43" y="8"/>
                    <a:pt x="51" y="15"/>
                    <a:pt x="52" y="24"/>
                  </a:cubicBezTo>
                  <a:lnTo>
                    <a:pt x="35" y="24"/>
                  </a:lnTo>
                  <a:close/>
                  <a:moveTo>
                    <a:pt x="74" y="28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61" y="28"/>
                    <a:pt x="60" y="27"/>
                    <a:pt x="60" y="26"/>
                  </a:cubicBezTo>
                  <a:cubicBezTo>
                    <a:pt x="60" y="25"/>
                    <a:pt x="61" y="24"/>
                    <a:pt x="62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5" y="24"/>
                    <a:pt x="76" y="25"/>
                    <a:pt x="76" y="26"/>
                  </a:cubicBezTo>
                  <a:cubicBezTo>
                    <a:pt x="76" y="27"/>
                    <a:pt x="75" y="28"/>
                    <a:pt x="74" y="28"/>
                  </a:cubicBezTo>
                  <a:close/>
                  <a:moveTo>
                    <a:pt x="74" y="20"/>
                  </a:moveTo>
                  <a:cubicBezTo>
                    <a:pt x="62" y="20"/>
                    <a:pt x="62" y="20"/>
                    <a:pt x="62" y="20"/>
                  </a:cubicBezTo>
                  <a:cubicBezTo>
                    <a:pt x="61" y="20"/>
                    <a:pt x="60" y="19"/>
                    <a:pt x="60" y="18"/>
                  </a:cubicBezTo>
                  <a:cubicBezTo>
                    <a:pt x="60" y="17"/>
                    <a:pt x="61" y="16"/>
                    <a:pt x="62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5" y="16"/>
                    <a:pt x="76" y="17"/>
                    <a:pt x="76" y="18"/>
                  </a:cubicBezTo>
                  <a:cubicBezTo>
                    <a:pt x="76" y="19"/>
                    <a:pt x="75" y="20"/>
                    <a:pt x="74" y="20"/>
                  </a:cubicBezTo>
                  <a:close/>
                  <a:moveTo>
                    <a:pt x="74" y="12"/>
                  </a:moveTo>
                  <a:cubicBezTo>
                    <a:pt x="62" y="12"/>
                    <a:pt x="62" y="12"/>
                    <a:pt x="62" y="12"/>
                  </a:cubicBezTo>
                  <a:cubicBezTo>
                    <a:pt x="61" y="12"/>
                    <a:pt x="60" y="11"/>
                    <a:pt x="60" y="10"/>
                  </a:cubicBezTo>
                  <a:cubicBezTo>
                    <a:pt x="60" y="9"/>
                    <a:pt x="61" y="8"/>
                    <a:pt x="62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6" y="9"/>
                    <a:pt x="76" y="10"/>
                  </a:cubicBezTo>
                  <a:cubicBezTo>
                    <a:pt x="76" y="11"/>
                    <a:pt x="75" y="12"/>
                    <a:pt x="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7" name="Freeform 188">
            <a:extLst>
              <a:ext uri="{FF2B5EF4-FFF2-40B4-BE49-F238E27FC236}">
                <a16:creationId xmlns:a16="http://schemas.microsoft.com/office/drawing/2014/main" id="{40C722A2-D118-4DC4-99F9-D8E2CE0A6D11}"/>
              </a:ext>
            </a:extLst>
          </p:cNvPr>
          <p:cNvSpPr>
            <a:spLocks noEditPoints="1"/>
          </p:cNvSpPr>
          <p:nvPr/>
        </p:nvSpPr>
        <p:spPr bwMode="auto">
          <a:xfrm>
            <a:off x="8346101" y="5848963"/>
            <a:ext cx="152337" cy="203415"/>
          </a:xfrm>
          <a:custGeom>
            <a:avLst/>
            <a:gdLst>
              <a:gd name="T0" fmla="*/ 47 w 72"/>
              <a:gd name="T1" fmla="*/ 1 h 96"/>
              <a:gd name="T2" fmla="*/ 2 w 72"/>
              <a:gd name="T3" fmla="*/ 0 h 96"/>
              <a:gd name="T4" fmla="*/ 0 w 72"/>
              <a:gd name="T5" fmla="*/ 94 h 96"/>
              <a:gd name="T6" fmla="*/ 70 w 72"/>
              <a:gd name="T7" fmla="*/ 96 h 96"/>
              <a:gd name="T8" fmla="*/ 72 w 72"/>
              <a:gd name="T9" fmla="*/ 26 h 96"/>
              <a:gd name="T10" fmla="*/ 24 w 72"/>
              <a:gd name="T11" fmla="*/ 38 h 96"/>
              <a:gd name="T12" fmla="*/ 22 w 72"/>
              <a:gd name="T13" fmla="*/ 21 h 96"/>
              <a:gd name="T14" fmla="*/ 24 w 72"/>
              <a:gd name="T15" fmla="*/ 16 h 96"/>
              <a:gd name="T16" fmla="*/ 26 w 72"/>
              <a:gd name="T17" fmla="*/ 21 h 96"/>
              <a:gd name="T18" fmla="*/ 31 w 72"/>
              <a:gd name="T19" fmla="*/ 31 h 96"/>
              <a:gd name="T20" fmla="*/ 24 w 72"/>
              <a:gd name="T21" fmla="*/ 24 h 96"/>
              <a:gd name="T22" fmla="*/ 24 w 72"/>
              <a:gd name="T23" fmla="*/ 34 h 96"/>
              <a:gd name="T24" fmla="*/ 26 w 72"/>
              <a:gd name="T25" fmla="*/ 51 h 96"/>
              <a:gd name="T26" fmla="*/ 24 w 72"/>
              <a:gd name="T27" fmla="*/ 56 h 96"/>
              <a:gd name="T28" fmla="*/ 22 w 72"/>
              <a:gd name="T29" fmla="*/ 51 h 96"/>
              <a:gd name="T30" fmla="*/ 17 w 72"/>
              <a:gd name="T31" fmla="*/ 41 h 96"/>
              <a:gd name="T32" fmla="*/ 24 w 72"/>
              <a:gd name="T33" fmla="*/ 47 h 96"/>
              <a:gd name="T34" fmla="*/ 24 w 72"/>
              <a:gd name="T35" fmla="*/ 38 h 96"/>
              <a:gd name="T36" fmla="*/ 14 w 72"/>
              <a:gd name="T37" fmla="*/ 84 h 96"/>
              <a:gd name="T38" fmla="*/ 14 w 72"/>
              <a:gd name="T39" fmla="*/ 80 h 96"/>
              <a:gd name="T40" fmla="*/ 60 w 72"/>
              <a:gd name="T41" fmla="*/ 82 h 96"/>
              <a:gd name="T42" fmla="*/ 58 w 72"/>
              <a:gd name="T43" fmla="*/ 76 h 96"/>
              <a:gd name="T44" fmla="*/ 12 w 72"/>
              <a:gd name="T45" fmla="*/ 74 h 96"/>
              <a:gd name="T46" fmla="*/ 58 w 72"/>
              <a:gd name="T47" fmla="*/ 72 h 96"/>
              <a:gd name="T48" fmla="*/ 58 w 72"/>
              <a:gd name="T49" fmla="*/ 76 h 96"/>
              <a:gd name="T50" fmla="*/ 14 w 72"/>
              <a:gd name="T51" fmla="*/ 68 h 96"/>
              <a:gd name="T52" fmla="*/ 14 w 72"/>
              <a:gd name="T53" fmla="*/ 64 h 96"/>
              <a:gd name="T54" fmla="*/ 60 w 72"/>
              <a:gd name="T55" fmla="*/ 66 h 96"/>
              <a:gd name="T56" fmla="*/ 58 w 72"/>
              <a:gd name="T57" fmla="*/ 60 h 96"/>
              <a:gd name="T58" fmla="*/ 36 w 72"/>
              <a:gd name="T59" fmla="*/ 58 h 96"/>
              <a:gd name="T60" fmla="*/ 58 w 72"/>
              <a:gd name="T61" fmla="*/ 56 h 96"/>
              <a:gd name="T62" fmla="*/ 58 w 72"/>
              <a:gd name="T63" fmla="*/ 60 h 96"/>
              <a:gd name="T64" fmla="*/ 46 w 72"/>
              <a:gd name="T65" fmla="*/ 52 h 96"/>
              <a:gd name="T66" fmla="*/ 46 w 72"/>
              <a:gd name="T67" fmla="*/ 48 h 96"/>
              <a:gd name="T68" fmla="*/ 60 w 72"/>
              <a:gd name="T69" fmla="*/ 50 h 96"/>
              <a:gd name="T70" fmla="*/ 58 w 72"/>
              <a:gd name="T71" fmla="*/ 44 h 96"/>
              <a:gd name="T72" fmla="*/ 44 w 72"/>
              <a:gd name="T73" fmla="*/ 42 h 96"/>
              <a:gd name="T74" fmla="*/ 58 w 72"/>
              <a:gd name="T75" fmla="*/ 40 h 96"/>
              <a:gd name="T76" fmla="*/ 58 w 72"/>
              <a:gd name="T77" fmla="*/ 44 h 96"/>
              <a:gd name="T78" fmla="*/ 58 w 72"/>
              <a:gd name="T79" fmla="*/ 28 h 96"/>
              <a:gd name="T80" fmla="*/ 46 w 72"/>
              <a:gd name="T81" fmla="*/ 28 h 96"/>
              <a:gd name="T82" fmla="*/ 44 w 72"/>
              <a:gd name="T83" fmla="*/ 15 h 96"/>
              <a:gd name="T84" fmla="*/ 44 w 72"/>
              <a:gd name="T85" fmla="*/ 3 h 96"/>
              <a:gd name="T86" fmla="*/ 58 w 72"/>
              <a:gd name="T87" fmla="*/ 2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2" h="96">
                <a:moveTo>
                  <a:pt x="71" y="25"/>
                </a:moveTo>
                <a:cubicBezTo>
                  <a:pt x="47" y="1"/>
                  <a:pt x="47" y="1"/>
                  <a:pt x="47" y="1"/>
                </a:cubicBezTo>
                <a:cubicBezTo>
                  <a:pt x="47" y="0"/>
                  <a:pt x="47" y="0"/>
                  <a:pt x="4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26"/>
                  <a:pt x="72" y="26"/>
                  <a:pt x="72" y="26"/>
                </a:cubicBezTo>
                <a:cubicBezTo>
                  <a:pt x="72" y="25"/>
                  <a:pt x="72" y="25"/>
                  <a:pt x="71" y="25"/>
                </a:cubicBezTo>
                <a:close/>
                <a:moveTo>
                  <a:pt x="24" y="38"/>
                </a:moveTo>
                <a:cubicBezTo>
                  <a:pt x="19" y="38"/>
                  <a:pt x="15" y="34"/>
                  <a:pt x="15" y="29"/>
                </a:cubicBezTo>
                <a:cubicBezTo>
                  <a:pt x="15" y="25"/>
                  <a:pt x="18" y="22"/>
                  <a:pt x="22" y="21"/>
                </a:cubicBezTo>
                <a:cubicBezTo>
                  <a:pt x="22" y="18"/>
                  <a:pt x="22" y="18"/>
                  <a:pt x="22" y="18"/>
                </a:cubicBezTo>
                <a:cubicBezTo>
                  <a:pt x="22" y="17"/>
                  <a:pt x="23" y="16"/>
                  <a:pt x="24" y="16"/>
                </a:cubicBezTo>
                <a:cubicBezTo>
                  <a:pt x="25" y="16"/>
                  <a:pt x="26" y="17"/>
                  <a:pt x="26" y="18"/>
                </a:cubicBezTo>
                <a:cubicBezTo>
                  <a:pt x="26" y="21"/>
                  <a:pt x="26" y="21"/>
                  <a:pt x="26" y="21"/>
                </a:cubicBezTo>
                <a:cubicBezTo>
                  <a:pt x="30" y="22"/>
                  <a:pt x="33" y="25"/>
                  <a:pt x="33" y="29"/>
                </a:cubicBezTo>
                <a:cubicBezTo>
                  <a:pt x="33" y="30"/>
                  <a:pt x="32" y="31"/>
                  <a:pt x="31" y="31"/>
                </a:cubicBezTo>
                <a:cubicBezTo>
                  <a:pt x="30" y="31"/>
                  <a:pt x="29" y="30"/>
                  <a:pt x="29" y="29"/>
                </a:cubicBezTo>
                <a:cubicBezTo>
                  <a:pt x="29" y="27"/>
                  <a:pt x="27" y="24"/>
                  <a:pt x="24" y="24"/>
                </a:cubicBezTo>
                <a:cubicBezTo>
                  <a:pt x="21" y="24"/>
                  <a:pt x="19" y="27"/>
                  <a:pt x="19" y="29"/>
                </a:cubicBezTo>
                <a:cubicBezTo>
                  <a:pt x="19" y="32"/>
                  <a:pt x="21" y="34"/>
                  <a:pt x="24" y="34"/>
                </a:cubicBezTo>
                <a:cubicBezTo>
                  <a:pt x="29" y="34"/>
                  <a:pt x="33" y="38"/>
                  <a:pt x="33" y="43"/>
                </a:cubicBezTo>
                <a:cubicBezTo>
                  <a:pt x="33" y="47"/>
                  <a:pt x="30" y="50"/>
                  <a:pt x="26" y="51"/>
                </a:cubicBezTo>
                <a:cubicBezTo>
                  <a:pt x="26" y="54"/>
                  <a:pt x="26" y="54"/>
                  <a:pt x="26" y="54"/>
                </a:cubicBezTo>
                <a:cubicBezTo>
                  <a:pt x="26" y="55"/>
                  <a:pt x="25" y="56"/>
                  <a:pt x="24" y="56"/>
                </a:cubicBezTo>
                <a:cubicBezTo>
                  <a:pt x="23" y="56"/>
                  <a:pt x="22" y="55"/>
                  <a:pt x="22" y="54"/>
                </a:cubicBezTo>
                <a:cubicBezTo>
                  <a:pt x="22" y="51"/>
                  <a:pt x="22" y="51"/>
                  <a:pt x="22" y="51"/>
                </a:cubicBezTo>
                <a:cubicBezTo>
                  <a:pt x="18" y="50"/>
                  <a:pt x="15" y="47"/>
                  <a:pt x="15" y="43"/>
                </a:cubicBezTo>
                <a:cubicBezTo>
                  <a:pt x="15" y="42"/>
                  <a:pt x="16" y="41"/>
                  <a:pt x="17" y="41"/>
                </a:cubicBezTo>
                <a:cubicBezTo>
                  <a:pt x="18" y="41"/>
                  <a:pt x="19" y="42"/>
                  <a:pt x="19" y="43"/>
                </a:cubicBezTo>
                <a:cubicBezTo>
                  <a:pt x="19" y="45"/>
                  <a:pt x="21" y="47"/>
                  <a:pt x="24" y="47"/>
                </a:cubicBezTo>
                <a:cubicBezTo>
                  <a:pt x="27" y="47"/>
                  <a:pt x="29" y="45"/>
                  <a:pt x="29" y="43"/>
                </a:cubicBezTo>
                <a:cubicBezTo>
                  <a:pt x="29" y="40"/>
                  <a:pt x="27" y="38"/>
                  <a:pt x="24" y="38"/>
                </a:cubicBezTo>
                <a:close/>
                <a:moveTo>
                  <a:pt x="58" y="84"/>
                </a:moveTo>
                <a:cubicBezTo>
                  <a:pt x="14" y="84"/>
                  <a:pt x="14" y="84"/>
                  <a:pt x="14" y="84"/>
                </a:cubicBezTo>
                <a:cubicBezTo>
                  <a:pt x="13" y="84"/>
                  <a:pt x="12" y="83"/>
                  <a:pt x="12" y="82"/>
                </a:cubicBezTo>
                <a:cubicBezTo>
                  <a:pt x="12" y="81"/>
                  <a:pt x="13" y="80"/>
                  <a:pt x="14" y="80"/>
                </a:cubicBezTo>
                <a:cubicBezTo>
                  <a:pt x="58" y="80"/>
                  <a:pt x="58" y="80"/>
                  <a:pt x="58" y="80"/>
                </a:cubicBezTo>
                <a:cubicBezTo>
                  <a:pt x="59" y="80"/>
                  <a:pt x="60" y="81"/>
                  <a:pt x="60" y="82"/>
                </a:cubicBezTo>
                <a:cubicBezTo>
                  <a:pt x="60" y="83"/>
                  <a:pt x="59" y="84"/>
                  <a:pt x="58" y="84"/>
                </a:cubicBezTo>
                <a:close/>
                <a:moveTo>
                  <a:pt x="58" y="76"/>
                </a:moveTo>
                <a:cubicBezTo>
                  <a:pt x="14" y="76"/>
                  <a:pt x="14" y="76"/>
                  <a:pt x="14" y="76"/>
                </a:cubicBezTo>
                <a:cubicBezTo>
                  <a:pt x="13" y="76"/>
                  <a:pt x="12" y="75"/>
                  <a:pt x="12" y="74"/>
                </a:cubicBezTo>
                <a:cubicBezTo>
                  <a:pt x="12" y="73"/>
                  <a:pt x="13" y="72"/>
                  <a:pt x="14" y="72"/>
                </a:cubicBezTo>
                <a:cubicBezTo>
                  <a:pt x="58" y="72"/>
                  <a:pt x="58" y="72"/>
                  <a:pt x="58" y="72"/>
                </a:cubicBezTo>
                <a:cubicBezTo>
                  <a:pt x="59" y="72"/>
                  <a:pt x="60" y="73"/>
                  <a:pt x="60" y="74"/>
                </a:cubicBezTo>
                <a:cubicBezTo>
                  <a:pt x="60" y="75"/>
                  <a:pt x="59" y="76"/>
                  <a:pt x="58" y="76"/>
                </a:cubicBezTo>
                <a:close/>
                <a:moveTo>
                  <a:pt x="58" y="68"/>
                </a:moveTo>
                <a:cubicBezTo>
                  <a:pt x="14" y="68"/>
                  <a:pt x="14" y="68"/>
                  <a:pt x="14" y="68"/>
                </a:cubicBezTo>
                <a:cubicBezTo>
                  <a:pt x="13" y="68"/>
                  <a:pt x="12" y="67"/>
                  <a:pt x="12" y="66"/>
                </a:cubicBezTo>
                <a:cubicBezTo>
                  <a:pt x="12" y="65"/>
                  <a:pt x="13" y="64"/>
                  <a:pt x="14" y="64"/>
                </a:cubicBezTo>
                <a:cubicBezTo>
                  <a:pt x="58" y="64"/>
                  <a:pt x="58" y="64"/>
                  <a:pt x="58" y="64"/>
                </a:cubicBezTo>
                <a:cubicBezTo>
                  <a:pt x="59" y="64"/>
                  <a:pt x="60" y="65"/>
                  <a:pt x="60" y="66"/>
                </a:cubicBezTo>
                <a:cubicBezTo>
                  <a:pt x="60" y="67"/>
                  <a:pt x="59" y="68"/>
                  <a:pt x="58" y="68"/>
                </a:cubicBezTo>
                <a:close/>
                <a:moveTo>
                  <a:pt x="58" y="60"/>
                </a:moveTo>
                <a:cubicBezTo>
                  <a:pt x="38" y="60"/>
                  <a:pt x="38" y="60"/>
                  <a:pt x="38" y="60"/>
                </a:cubicBezTo>
                <a:cubicBezTo>
                  <a:pt x="37" y="60"/>
                  <a:pt x="36" y="59"/>
                  <a:pt x="36" y="58"/>
                </a:cubicBezTo>
                <a:cubicBezTo>
                  <a:pt x="36" y="57"/>
                  <a:pt x="37" y="56"/>
                  <a:pt x="38" y="56"/>
                </a:cubicBezTo>
                <a:cubicBezTo>
                  <a:pt x="58" y="56"/>
                  <a:pt x="58" y="56"/>
                  <a:pt x="58" y="56"/>
                </a:cubicBezTo>
                <a:cubicBezTo>
                  <a:pt x="59" y="56"/>
                  <a:pt x="60" y="57"/>
                  <a:pt x="60" y="58"/>
                </a:cubicBezTo>
                <a:cubicBezTo>
                  <a:pt x="60" y="59"/>
                  <a:pt x="59" y="60"/>
                  <a:pt x="58" y="60"/>
                </a:cubicBezTo>
                <a:close/>
                <a:moveTo>
                  <a:pt x="58" y="52"/>
                </a:moveTo>
                <a:cubicBezTo>
                  <a:pt x="46" y="52"/>
                  <a:pt x="46" y="52"/>
                  <a:pt x="46" y="52"/>
                </a:cubicBezTo>
                <a:cubicBezTo>
                  <a:pt x="45" y="52"/>
                  <a:pt x="44" y="51"/>
                  <a:pt x="44" y="50"/>
                </a:cubicBezTo>
                <a:cubicBezTo>
                  <a:pt x="44" y="49"/>
                  <a:pt x="45" y="48"/>
                  <a:pt x="46" y="48"/>
                </a:cubicBezTo>
                <a:cubicBezTo>
                  <a:pt x="58" y="48"/>
                  <a:pt x="58" y="48"/>
                  <a:pt x="58" y="48"/>
                </a:cubicBezTo>
                <a:cubicBezTo>
                  <a:pt x="59" y="48"/>
                  <a:pt x="60" y="49"/>
                  <a:pt x="60" y="50"/>
                </a:cubicBezTo>
                <a:cubicBezTo>
                  <a:pt x="60" y="51"/>
                  <a:pt x="59" y="52"/>
                  <a:pt x="58" y="52"/>
                </a:cubicBezTo>
                <a:close/>
                <a:moveTo>
                  <a:pt x="58" y="44"/>
                </a:moveTo>
                <a:cubicBezTo>
                  <a:pt x="46" y="44"/>
                  <a:pt x="46" y="44"/>
                  <a:pt x="46" y="44"/>
                </a:cubicBezTo>
                <a:cubicBezTo>
                  <a:pt x="45" y="44"/>
                  <a:pt x="44" y="43"/>
                  <a:pt x="44" y="42"/>
                </a:cubicBezTo>
                <a:cubicBezTo>
                  <a:pt x="44" y="41"/>
                  <a:pt x="45" y="40"/>
                  <a:pt x="46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59" y="40"/>
                  <a:pt x="60" y="41"/>
                  <a:pt x="60" y="42"/>
                </a:cubicBezTo>
                <a:cubicBezTo>
                  <a:pt x="60" y="43"/>
                  <a:pt x="59" y="44"/>
                  <a:pt x="58" y="44"/>
                </a:cubicBezTo>
                <a:close/>
                <a:moveTo>
                  <a:pt x="58" y="28"/>
                </a:moveTo>
                <a:cubicBezTo>
                  <a:pt x="58" y="28"/>
                  <a:pt x="58" y="28"/>
                  <a:pt x="58" y="28"/>
                </a:cubicBezTo>
                <a:cubicBezTo>
                  <a:pt x="57" y="28"/>
                  <a:pt x="57" y="28"/>
                  <a:pt x="57" y="28"/>
                </a:cubicBezTo>
                <a:cubicBezTo>
                  <a:pt x="46" y="28"/>
                  <a:pt x="46" y="28"/>
                  <a:pt x="46" y="28"/>
                </a:cubicBezTo>
                <a:cubicBezTo>
                  <a:pt x="45" y="28"/>
                  <a:pt x="44" y="27"/>
                  <a:pt x="44" y="26"/>
                </a:cubicBezTo>
                <a:cubicBezTo>
                  <a:pt x="44" y="15"/>
                  <a:pt x="44" y="15"/>
                  <a:pt x="44" y="15"/>
                </a:cubicBezTo>
                <a:cubicBezTo>
                  <a:pt x="44" y="14"/>
                  <a:pt x="44" y="14"/>
                  <a:pt x="44" y="14"/>
                </a:cubicBezTo>
                <a:cubicBezTo>
                  <a:pt x="44" y="3"/>
                  <a:pt x="44" y="3"/>
                  <a:pt x="44" y="3"/>
                </a:cubicBezTo>
                <a:cubicBezTo>
                  <a:pt x="69" y="28"/>
                  <a:pt x="69" y="28"/>
                  <a:pt x="69" y="28"/>
                </a:cubicBezTo>
                <a:lnTo>
                  <a:pt x="58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C9811CD-5DA1-42B0-89DF-6B577041159D}"/>
              </a:ext>
            </a:extLst>
          </p:cNvPr>
          <p:cNvGrpSpPr/>
          <p:nvPr/>
        </p:nvGrpSpPr>
        <p:grpSpPr>
          <a:xfrm>
            <a:off x="8325042" y="5134970"/>
            <a:ext cx="194455" cy="204311"/>
            <a:chOff x="4840288" y="5394325"/>
            <a:chExt cx="344488" cy="361950"/>
          </a:xfrm>
          <a:solidFill>
            <a:schemeClr val="bg1"/>
          </a:solidFill>
        </p:grpSpPr>
        <p:sp>
          <p:nvSpPr>
            <p:cNvPr id="59" name="Freeform 193">
              <a:extLst>
                <a:ext uri="{FF2B5EF4-FFF2-40B4-BE49-F238E27FC236}">
                  <a16:creationId xmlns:a16="http://schemas.microsoft.com/office/drawing/2014/main" id="{CEBE9AB1-E90A-49C4-89FE-F510D1C71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0288" y="5394325"/>
              <a:ext cx="344488" cy="46038"/>
            </a:xfrm>
            <a:custGeom>
              <a:avLst/>
              <a:gdLst>
                <a:gd name="T0" fmla="*/ 92 w 92"/>
                <a:gd name="T1" fmla="*/ 12 h 12"/>
                <a:gd name="T2" fmla="*/ 92 w 92"/>
                <a:gd name="T3" fmla="*/ 2 h 12"/>
                <a:gd name="T4" fmla="*/ 90 w 92"/>
                <a:gd name="T5" fmla="*/ 0 h 12"/>
                <a:gd name="T6" fmla="*/ 2 w 92"/>
                <a:gd name="T7" fmla="*/ 0 h 12"/>
                <a:gd name="T8" fmla="*/ 0 w 92"/>
                <a:gd name="T9" fmla="*/ 2 h 12"/>
                <a:gd name="T10" fmla="*/ 0 w 92"/>
                <a:gd name="T11" fmla="*/ 12 h 12"/>
                <a:gd name="T12" fmla="*/ 92 w 9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2">
                  <a:moveTo>
                    <a:pt x="92" y="12"/>
                  </a:move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2"/>
                    <a:pt x="0" y="12"/>
                    <a:pt x="0" y="12"/>
                  </a:cubicBezTo>
                  <a:lnTo>
                    <a:pt x="9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194">
              <a:extLst>
                <a:ext uri="{FF2B5EF4-FFF2-40B4-BE49-F238E27FC236}">
                  <a16:creationId xmlns:a16="http://schemas.microsoft.com/office/drawing/2014/main" id="{79069282-C988-4079-9A73-18A44A6D34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40288" y="5454650"/>
              <a:ext cx="344488" cy="301625"/>
            </a:xfrm>
            <a:custGeom>
              <a:avLst/>
              <a:gdLst>
                <a:gd name="T0" fmla="*/ 84 w 92"/>
                <a:gd name="T1" fmla="*/ 52 h 80"/>
                <a:gd name="T2" fmla="*/ 8 w 92"/>
                <a:gd name="T3" fmla="*/ 0 h 80"/>
                <a:gd name="T4" fmla="*/ 2 w 92"/>
                <a:gd name="T5" fmla="*/ 52 h 80"/>
                <a:gd name="T6" fmla="*/ 2 w 92"/>
                <a:gd name="T7" fmla="*/ 56 h 80"/>
                <a:gd name="T8" fmla="*/ 44 w 92"/>
                <a:gd name="T9" fmla="*/ 64 h 80"/>
                <a:gd name="T10" fmla="*/ 46 w 92"/>
                <a:gd name="T11" fmla="*/ 80 h 80"/>
                <a:gd name="T12" fmla="*/ 48 w 92"/>
                <a:gd name="T13" fmla="*/ 64 h 80"/>
                <a:gd name="T14" fmla="*/ 90 w 92"/>
                <a:gd name="T15" fmla="*/ 56 h 80"/>
                <a:gd name="T16" fmla="*/ 90 w 92"/>
                <a:gd name="T17" fmla="*/ 52 h 80"/>
                <a:gd name="T18" fmla="*/ 35 w 92"/>
                <a:gd name="T19" fmla="*/ 31 h 80"/>
                <a:gd name="T20" fmla="*/ 28 w 92"/>
                <a:gd name="T21" fmla="*/ 42 h 80"/>
                <a:gd name="T22" fmla="*/ 24 w 92"/>
                <a:gd name="T23" fmla="*/ 42 h 80"/>
                <a:gd name="T24" fmla="*/ 17 w 92"/>
                <a:gd name="T25" fmla="*/ 31 h 80"/>
                <a:gd name="T26" fmla="*/ 21 w 92"/>
                <a:gd name="T27" fmla="*/ 31 h 80"/>
                <a:gd name="T28" fmla="*/ 31 w 92"/>
                <a:gd name="T29" fmla="*/ 31 h 80"/>
                <a:gd name="T30" fmla="*/ 17 w 92"/>
                <a:gd name="T31" fmla="*/ 17 h 80"/>
                <a:gd name="T32" fmla="*/ 24 w 92"/>
                <a:gd name="T33" fmla="*/ 6 h 80"/>
                <a:gd name="T34" fmla="*/ 28 w 92"/>
                <a:gd name="T35" fmla="*/ 6 h 80"/>
                <a:gd name="T36" fmla="*/ 35 w 92"/>
                <a:gd name="T37" fmla="*/ 17 h 80"/>
                <a:gd name="T38" fmla="*/ 31 w 92"/>
                <a:gd name="T39" fmla="*/ 17 h 80"/>
                <a:gd name="T40" fmla="*/ 21 w 92"/>
                <a:gd name="T41" fmla="*/ 17 h 80"/>
                <a:gd name="T42" fmla="*/ 50 w 92"/>
                <a:gd name="T43" fmla="*/ 72 h 80"/>
                <a:gd name="T44" fmla="*/ 42 w 92"/>
                <a:gd name="T45" fmla="*/ 72 h 80"/>
                <a:gd name="T46" fmla="*/ 50 w 92"/>
                <a:gd name="T47" fmla="*/ 72 h 80"/>
                <a:gd name="T48" fmla="*/ 54 w 92"/>
                <a:gd name="T49" fmla="*/ 48 h 80"/>
                <a:gd name="T50" fmla="*/ 44 w 92"/>
                <a:gd name="T51" fmla="*/ 46 h 80"/>
                <a:gd name="T52" fmla="*/ 46 w 92"/>
                <a:gd name="T53" fmla="*/ 28 h 80"/>
                <a:gd name="T54" fmla="*/ 56 w 92"/>
                <a:gd name="T55" fmla="*/ 30 h 80"/>
                <a:gd name="T56" fmla="*/ 72 w 92"/>
                <a:gd name="T57" fmla="*/ 46 h 80"/>
                <a:gd name="T58" fmla="*/ 62 w 92"/>
                <a:gd name="T59" fmla="*/ 48 h 80"/>
                <a:gd name="T60" fmla="*/ 60 w 92"/>
                <a:gd name="T61" fmla="*/ 10 h 80"/>
                <a:gd name="T62" fmla="*/ 70 w 92"/>
                <a:gd name="T63" fmla="*/ 8 h 80"/>
                <a:gd name="T64" fmla="*/ 72 w 92"/>
                <a:gd name="T65" fmla="*/ 4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80">
                  <a:moveTo>
                    <a:pt x="90" y="52"/>
                  </a:moveTo>
                  <a:cubicBezTo>
                    <a:pt x="84" y="52"/>
                    <a:pt x="84" y="52"/>
                    <a:pt x="84" y="5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1" y="52"/>
                    <a:pt x="0" y="53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1" y="65"/>
                    <a:pt x="38" y="68"/>
                    <a:pt x="38" y="72"/>
                  </a:cubicBezTo>
                  <a:cubicBezTo>
                    <a:pt x="38" y="76"/>
                    <a:pt x="42" y="80"/>
                    <a:pt x="46" y="80"/>
                  </a:cubicBezTo>
                  <a:cubicBezTo>
                    <a:pt x="50" y="80"/>
                    <a:pt x="54" y="76"/>
                    <a:pt x="54" y="72"/>
                  </a:cubicBezTo>
                  <a:cubicBezTo>
                    <a:pt x="54" y="68"/>
                    <a:pt x="51" y="65"/>
                    <a:pt x="48" y="64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2" y="55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lose/>
                  <a:moveTo>
                    <a:pt x="26" y="22"/>
                  </a:moveTo>
                  <a:cubicBezTo>
                    <a:pt x="31" y="22"/>
                    <a:pt x="35" y="26"/>
                    <a:pt x="35" y="31"/>
                  </a:cubicBezTo>
                  <a:cubicBezTo>
                    <a:pt x="35" y="35"/>
                    <a:pt x="32" y="38"/>
                    <a:pt x="28" y="39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3"/>
                    <a:pt x="27" y="44"/>
                    <a:pt x="26" y="44"/>
                  </a:cubicBezTo>
                  <a:cubicBezTo>
                    <a:pt x="25" y="44"/>
                    <a:pt x="24" y="43"/>
                    <a:pt x="24" y="42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0" y="38"/>
                    <a:pt x="17" y="35"/>
                    <a:pt x="17" y="31"/>
                  </a:cubicBezTo>
                  <a:cubicBezTo>
                    <a:pt x="17" y="30"/>
                    <a:pt x="18" y="29"/>
                    <a:pt x="19" y="29"/>
                  </a:cubicBezTo>
                  <a:cubicBezTo>
                    <a:pt x="20" y="29"/>
                    <a:pt x="21" y="30"/>
                    <a:pt x="21" y="31"/>
                  </a:cubicBezTo>
                  <a:cubicBezTo>
                    <a:pt x="21" y="33"/>
                    <a:pt x="23" y="35"/>
                    <a:pt x="26" y="35"/>
                  </a:cubicBezTo>
                  <a:cubicBezTo>
                    <a:pt x="29" y="35"/>
                    <a:pt x="31" y="33"/>
                    <a:pt x="31" y="31"/>
                  </a:cubicBezTo>
                  <a:cubicBezTo>
                    <a:pt x="31" y="28"/>
                    <a:pt x="29" y="26"/>
                    <a:pt x="26" y="26"/>
                  </a:cubicBezTo>
                  <a:cubicBezTo>
                    <a:pt x="21" y="26"/>
                    <a:pt x="17" y="22"/>
                    <a:pt x="17" y="17"/>
                  </a:cubicBezTo>
                  <a:cubicBezTo>
                    <a:pt x="17" y="13"/>
                    <a:pt x="20" y="10"/>
                    <a:pt x="24" y="9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5"/>
                    <a:pt x="25" y="4"/>
                    <a:pt x="26" y="4"/>
                  </a:cubicBezTo>
                  <a:cubicBezTo>
                    <a:pt x="27" y="4"/>
                    <a:pt x="28" y="5"/>
                    <a:pt x="28" y="6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32" y="10"/>
                    <a:pt x="35" y="13"/>
                    <a:pt x="35" y="17"/>
                  </a:cubicBezTo>
                  <a:cubicBezTo>
                    <a:pt x="35" y="18"/>
                    <a:pt x="34" y="19"/>
                    <a:pt x="33" y="19"/>
                  </a:cubicBezTo>
                  <a:cubicBezTo>
                    <a:pt x="32" y="19"/>
                    <a:pt x="31" y="18"/>
                    <a:pt x="31" y="17"/>
                  </a:cubicBezTo>
                  <a:cubicBezTo>
                    <a:pt x="31" y="15"/>
                    <a:pt x="29" y="12"/>
                    <a:pt x="26" y="12"/>
                  </a:cubicBezTo>
                  <a:cubicBezTo>
                    <a:pt x="23" y="12"/>
                    <a:pt x="21" y="15"/>
                    <a:pt x="21" y="17"/>
                  </a:cubicBezTo>
                  <a:cubicBezTo>
                    <a:pt x="21" y="20"/>
                    <a:pt x="23" y="22"/>
                    <a:pt x="26" y="22"/>
                  </a:cubicBezTo>
                  <a:close/>
                  <a:moveTo>
                    <a:pt x="50" y="72"/>
                  </a:moveTo>
                  <a:cubicBezTo>
                    <a:pt x="50" y="74"/>
                    <a:pt x="48" y="76"/>
                    <a:pt x="46" y="76"/>
                  </a:cubicBezTo>
                  <a:cubicBezTo>
                    <a:pt x="44" y="76"/>
                    <a:pt x="42" y="74"/>
                    <a:pt x="42" y="72"/>
                  </a:cubicBezTo>
                  <a:cubicBezTo>
                    <a:pt x="42" y="70"/>
                    <a:pt x="44" y="68"/>
                    <a:pt x="46" y="68"/>
                  </a:cubicBezTo>
                  <a:cubicBezTo>
                    <a:pt x="48" y="68"/>
                    <a:pt x="50" y="70"/>
                    <a:pt x="50" y="72"/>
                  </a:cubicBezTo>
                  <a:close/>
                  <a:moveTo>
                    <a:pt x="56" y="46"/>
                  </a:moveTo>
                  <a:cubicBezTo>
                    <a:pt x="56" y="47"/>
                    <a:pt x="55" y="48"/>
                    <a:pt x="54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5" y="48"/>
                    <a:pt x="44" y="47"/>
                    <a:pt x="44" y="46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29"/>
                    <a:pt x="45" y="28"/>
                    <a:pt x="46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5" y="28"/>
                    <a:pt x="56" y="29"/>
                    <a:pt x="56" y="30"/>
                  </a:cubicBezTo>
                  <a:lnTo>
                    <a:pt x="56" y="46"/>
                  </a:lnTo>
                  <a:close/>
                  <a:moveTo>
                    <a:pt x="72" y="46"/>
                  </a:moveTo>
                  <a:cubicBezTo>
                    <a:pt x="72" y="47"/>
                    <a:pt x="71" y="48"/>
                    <a:pt x="70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1" y="48"/>
                    <a:pt x="60" y="47"/>
                    <a:pt x="60" y="46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60" y="9"/>
                    <a:pt x="61" y="8"/>
                    <a:pt x="62" y="8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1" y="8"/>
                    <a:pt x="72" y="9"/>
                    <a:pt x="72" y="10"/>
                  </a:cubicBezTo>
                  <a:lnTo>
                    <a:pt x="72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4" name="Slide Number Placeholder 63">
            <a:extLst>
              <a:ext uri="{FF2B5EF4-FFF2-40B4-BE49-F238E27FC236}">
                <a16:creationId xmlns:a16="http://schemas.microsoft.com/office/drawing/2014/main" id="{A2295112-A839-428F-BE7B-E58117B20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1882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DD544433-4DD4-4049-8B51-75F8E23FF4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0882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Picture 28" descr="A screen shot of a smart phone&#10;&#10;Description automatically generated">
            <a:extLst>
              <a:ext uri="{FF2B5EF4-FFF2-40B4-BE49-F238E27FC236}">
                <a16:creationId xmlns:a16="http://schemas.microsoft.com/office/drawing/2014/main" id="{D186F102-A078-4A20-AE64-1950FA3C833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71770" y="0"/>
            <a:ext cx="5820229" cy="631189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B165D3C-16E6-4C0A-BDC1-AF246306F129}"/>
              </a:ext>
            </a:extLst>
          </p:cNvPr>
          <p:cNvSpPr/>
          <p:nvPr/>
        </p:nvSpPr>
        <p:spPr>
          <a:xfrm>
            <a:off x="6371770" y="0"/>
            <a:ext cx="5820229" cy="6311900"/>
          </a:xfrm>
          <a:prstGeom prst="rect">
            <a:avLst/>
          </a:prstGeom>
          <a:solidFill>
            <a:schemeClr val="tx2">
              <a:lumMod val="50000"/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8" name="Content Placeholder 14">
            <a:extLst>
              <a:ext uri="{FF2B5EF4-FFF2-40B4-BE49-F238E27FC236}">
                <a16:creationId xmlns:a16="http://schemas.microsoft.com/office/drawing/2014/main" id="{DD9314EB-55A2-4C22-9336-C312F2A2C46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95033540"/>
              </p:ext>
            </p:extLst>
          </p:nvPr>
        </p:nvGraphicFramePr>
        <p:xfrm>
          <a:off x="6936014" y="1327152"/>
          <a:ext cx="4767410" cy="2477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F99F98-CBAA-4D99-9726-B2580F8495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77" y="365125"/>
            <a:ext cx="11214847" cy="804769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ummary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DF0B4BD-FA27-41B8-9F5E-7488108C753D}"/>
              </a:ext>
            </a:extLst>
          </p:cNvPr>
          <p:cNvCxnSpPr/>
          <p:nvPr/>
        </p:nvCxnSpPr>
        <p:spPr>
          <a:xfrm>
            <a:off x="438150" y="2935473"/>
            <a:ext cx="565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96805A8-3DA4-4FA6-A834-08279A68DA90}"/>
              </a:ext>
            </a:extLst>
          </p:cNvPr>
          <p:cNvCxnSpPr/>
          <p:nvPr/>
        </p:nvCxnSpPr>
        <p:spPr>
          <a:xfrm>
            <a:off x="438150" y="4702078"/>
            <a:ext cx="565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2E8667C2-CB62-4883-B7CD-DBDB8F85F1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089198"/>
              </p:ext>
            </p:extLst>
          </p:nvPr>
        </p:nvGraphicFramePr>
        <p:xfrm>
          <a:off x="488576" y="1325658"/>
          <a:ext cx="5493124" cy="1453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B273AE3E-D8FA-429E-8159-3E29E18771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8861795"/>
              </p:ext>
            </p:extLst>
          </p:nvPr>
        </p:nvGraphicFramePr>
        <p:xfrm>
          <a:off x="488576" y="3092262"/>
          <a:ext cx="5493124" cy="1453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64654F35-AC5F-42DE-8DDD-690513CF84A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7844484"/>
              </p:ext>
            </p:extLst>
          </p:nvPr>
        </p:nvGraphicFramePr>
        <p:xfrm>
          <a:off x="488576" y="4858866"/>
          <a:ext cx="5493124" cy="1453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D80E3BA-F4FE-4886-AD80-7CE82223AF21}"/>
              </a:ext>
            </a:extLst>
          </p:cNvPr>
          <p:cNvSpPr/>
          <p:nvPr/>
        </p:nvSpPr>
        <p:spPr>
          <a:xfrm>
            <a:off x="8631649" y="1882490"/>
            <a:ext cx="1429132" cy="1429132"/>
          </a:xfrm>
          <a:custGeom>
            <a:avLst/>
            <a:gdLst>
              <a:gd name="connsiteX0" fmla="*/ 714566 w 1429132"/>
              <a:gd name="connsiteY0" fmla="*/ 177702 h 1429132"/>
              <a:gd name="connsiteX1" fmla="*/ 177702 w 1429132"/>
              <a:gd name="connsiteY1" fmla="*/ 714566 h 1429132"/>
              <a:gd name="connsiteX2" fmla="*/ 714566 w 1429132"/>
              <a:gd name="connsiteY2" fmla="*/ 1251430 h 1429132"/>
              <a:gd name="connsiteX3" fmla="*/ 1251430 w 1429132"/>
              <a:gd name="connsiteY3" fmla="*/ 714566 h 1429132"/>
              <a:gd name="connsiteX4" fmla="*/ 714566 w 1429132"/>
              <a:gd name="connsiteY4" fmla="*/ 177702 h 1429132"/>
              <a:gd name="connsiteX5" fmla="*/ 714566 w 1429132"/>
              <a:gd name="connsiteY5" fmla="*/ 0 h 1429132"/>
              <a:gd name="connsiteX6" fmla="*/ 1429132 w 1429132"/>
              <a:gd name="connsiteY6" fmla="*/ 714566 h 1429132"/>
              <a:gd name="connsiteX7" fmla="*/ 714566 w 1429132"/>
              <a:gd name="connsiteY7" fmla="*/ 1429132 h 1429132"/>
              <a:gd name="connsiteX8" fmla="*/ 0 w 1429132"/>
              <a:gd name="connsiteY8" fmla="*/ 714566 h 1429132"/>
              <a:gd name="connsiteX9" fmla="*/ 714566 w 1429132"/>
              <a:gd name="connsiteY9" fmla="*/ 0 h 1429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29132" h="1429132">
                <a:moveTo>
                  <a:pt x="714566" y="177702"/>
                </a:moveTo>
                <a:cubicBezTo>
                  <a:pt x="418064" y="177702"/>
                  <a:pt x="177702" y="418064"/>
                  <a:pt x="177702" y="714566"/>
                </a:cubicBezTo>
                <a:cubicBezTo>
                  <a:pt x="177702" y="1011068"/>
                  <a:pt x="418064" y="1251430"/>
                  <a:pt x="714566" y="1251430"/>
                </a:cubicBezTo>
                <a:cubicBezTo>
                  <a:pt x="1011068" y="1251430"/>
                  <a:pt x="1251430" y="1011068"/>
                  <a:pt x="1251430" y="714566"/>
                </a:cubicBezTo>
                <a:cubicBezTo>
                  <a:pt x="1251430" y="418064"/>
                  <a:pt x="1011068" y="177702"/>
                  <a:pt x="714566" y="177702"/>
                </a:cubicBezTo>
                <a:close/>
                <a:moveTo>
                  <a:pt x="714566" y="0"/>
                </a:moveTo>
                <a:cubicBezTo>
                  <a:pt x="1109210" y="0"/>
                  <a:pt x="1429132" y="319922"/>
                  <a:pt x="1429132" y="714566"/>
                </a:cubicBezTo>
                <a:cubicBezTo>
                  <a:pt x="1429132" y="1109210"/>
                  <a:pt x="1109210" y="1429132"/>
                  <a:pt x="714566" y="1429132"/>
                </a:cubicBezTo>
                <a:cubicBezTo>
                  <a:pt x="319922" y="1429132"/>
                  <a:pt x="0" y="1109210"/>
                  <a:pt x="0" y="714566"/>
                </a:cubicBezTo>
                <a:cubicBezTo>
                  <a:pt x="0" y="319922"/>
                  <a:pt x="319922" y="0"/>
                  <a:pt x="714566" y="0"/>
                </a:cubicBezTo>
                <a:close/>
              </a:path>
            </a:pathLst>
          </a:cu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6A20104-25DE-449D-8374-529EEFB33880}"/>
              </a:ext>
            </a:extLst>
          </p:cNvPr>
          <p:cNvSpPr/>
          <p:nvPr/>
        </p:nvSpPr>
        <p:spPr>
          <a:xfrm>
            <a:off x="8809352" y="2060193"/>
            <a:ext cx="1073727" cy="107372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15065A3-263E-4D6F-88F3-AA67006C8659}"/>
              </a:ext>
            </a:extLst>
          </p:cNvPr>
          <p:cNvGrpSpPr/>
          <p:nvPr/>
        </p:nvGrpSpPr>
        <p:grpSpPr>
          <a:xfrm>
            <a:off x="9134443" y="2393222"/>
            <a:ext cx="380683" cy="398145"/>
            <a:chOff x="2676526" y="5394325"/>
            <a:chExt cx="346075" cy="361950"/>
          </a:xfrm>
          <a:solidFill>
            <a:schemeClr val="tx2"/>
          </a:solidFill>
        </p:grpSpPr>
        <p:sp>
          <p:nvSpPr>
            <p:cNvPr id="22" name="Freeform 118">
              <a:extLst>
                <a:ext uri="{FF2B5EF4-FFF2-40B4-BE49-F238E27FC236}">
                  <a16:creationId xmlns:a16="http://schemas.microsoft.com/office/drawing/2014/main" id="{CACACA6C-1F6B-4013-9E7D-ADAE5A4D6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526" y="5394325"/>
              <a:ext cx="346075" cy="46038"/>
            </a:xfrm>
            <a:custGeom>
              <a:avLst/>
              <a:gdLst>
                <a:gd name="T0" fmla="*/ 92 w 92"/>
                <a:gd name="T1" fmla="*/ 12 h 12"/>
                <a:gd name="T2" fmla="*/ 92 w 92"/>
                <a:gd name="T3" fmla="*/ 2 h 12"/>
                <a:gd name="T4" fmla="*/ 90 w 92"/>
                <a:gd name="T5" fmla="*/ 0 h 12"/>
                <a:gd name="T6" fmla="*/ 2 w 92"/>
                <a:gd name="T7" fmla="*/ 0 h 12"/>
                <a:gd name="T8" fmla="*/ 0 w 92"/>
                <a:gd name="T9" fmla="*/ 2 h 12"/>
                <a:gd name="T10" fmla="*/ 0 w 92"/>
                <a:gd name="T11" fmla="*/ 12 h 12"/>
                <a:gd name="T12" fmla="*/ 92 w 9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2">
                  <a:moveTo>
                    <a:pt x="92" y="12"/>
                  </a:move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2"/>
                    <a:pt x="0" y="12"/>
                    <a:pt x="0" y="12"/>
                  </a:cubicBezTo>
                  <a:lnTo>
                    <a:pt x="9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119">
              <a:extLst>
                <a:ext uri="{FF2B5EF4-FFF2-40B4-BE49-F238E27FC236}">
                  <a16:creationId xmlns:a16="http://schemas.microsoft.com/office/drawing/2014/main" id="{2C7DBE91-5B86-4032-961D-23BBCAE8DC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526" y="5454650"/>
              <a:ext cx="346075" cy="301625"/>
            </a:xfrm>
            <a:custGeom>
              <a:avLst/>
              <a:gdLst>
                <a:gd name="T0" fmla="*/ 90 w 92"/>
                <a:gd name="T1" fmla="*/ 52 h 80"/>
                <a:gd name="T2" fmla="*/ 84 w 92"/>
                <a:gd name="T3" fmla="*/ 52 h 80"/>
                <a:gd name="T4" fmla="*/ 84 w 92"/>
                <a:gd name="T5" fmla="*/ 0 h 80"/>
                <a:gd name="T6" fmla="*/ 8 w 92"/>
                <a:gd name="T7" fmla="*/ 0 h 80"/>
                <a:gd name="T8" fmla="*/ 8 w 92"/>
                <a:gd name="T9" fmla="*/ 52 h 80"/>
                <a:gd name="T10" fmla="*/ 2 w 92"/>
                <a:gd name="T11" fmla="*/ 52 h 80"/>
                <a:gd name="T12" fmla="*/ 0 w 92"/>
                <a:gd name="T13" fmla="*/ 54 h 80"/>
                <a:gd name="T14" fmla="*/ 2 w 92"/>
                <a:gd name="T15" fmla="*/ 56 h 80"/>
                <a:gd name="T16" fmla="*/ 44 w 92"/>
                <a:gd name="T17" fmla="*/ 56 h 80"/>
                <a:gd name="T18" fmla="*/ 44 w 92"/>
                <a:gd name="T19" fmla="*/ 64 h 80"/>
                <a:gd name="T20" fmla="*/ 38 w 92"/>
                <a:gd name="T21" fmla="*/ 72 h 80"/>
                <a:gd name="T22" fmla="*/ 46 w 92"/>
                <a:gd name="T23" fmla="*/ 80 h 80"/>
                <a:gd name="T24" fmla="*/ 54 w 92"/>
                <a:gd name="T25" fmla="*/ 72 h 80"/>
                <a:gd name="T26" fmla="*/ 48 w 92"/>
                <a:gd name="T27" fmla="*/ 64 h 80"/>
                <a:gd name="T28" fmla="*/ 48 w 92"/>
                <a:gd name="T29" fmla="*/ 56 h 80"/>
                <a:gd name="T30" fmla="*/ 90 w 92"/>
                <a:gd name="T31" fmla="*/ 56 h 80"/>
                <a:gd name="T32" fmla="*/ 92 w 92"/>
                <a:gd name="T33" fmla="*/ 54 h 80"/>
                <a:gd name="T34" fmla="*/ 90 w 92"/>
                <a:gd name="T35" fmla="*/ 52 h 80"/>
                <a:gd name="T36" fmla="*/ 34 w 92"/>
                <a:gd name="T37" fmla="*/ 44 h 80"/>
                <a:gd name="T38" fmla="*/ 16 w 92"/>
                <a:gd name="T39" fmla="*/ 26 h 80"/>
                <a:gd name="T40" fmla="*/ 23 w 92"/>
                <a:gd name="T41" fmla="*/ 11 h 80"/>
                <a:gd name="T42" fmla="*/ 32 w 92"/>
                <a:gd name="T43" fmla="*/ 27 h 80"/>
                <a:gd name="T44" fmla="*/ 35 w 92"/>
                <a:gd name="T45" fmla="*/ 44 h 80"/>
                <a:gd name="T46" fmla="*/ 34 w 92"/>
                <a:gd name="T47" fmla="*/ 44 h 80"/>
                <a:gd name="T48" fmla="*/ 50 w 92"/>
                <a:gd name="T49" fmla="*/ 72 h 80"/>
                <a:gd name="T50" fmla="*/ 46 w 92"/>
                <a:gd name="T51" fmla="*/ 76 h 80"/>
                <a:gd name="T52" fmla="*/ 42 w 92"/>
                <a:gd name="T53" fmla="*/ 72 h 80"/>
                <a:gd name="T54" fmla="*/ 46 w 92"/>
                <a:gd name="T55" fmla="*/ 68 h 80"/>
                <a:gd name="T56" fmla="*/ 50 w 92"/>
                <a:gd name="T57" fmla="*/ 72 h 80"/>
                <a:gd name="T58" fmla="*/ 39 w 92"/>
                <a:gd name="T59" fmla="*/ 43 h 80"/>
                <a:gd name="T60" fmla="*/ 36 w 92"/>
                <a:gd name="T61" fmla="*/ 28 h 80"/>
                <a:gd name="T62" fmla="*/ 52 w 92"/>
                <a:gd name="T63" fmla="*/ 28 h 80"/>
                <a:gd name="T64" fmla="*/ 39 w 92"/>
                <a:gd name="T65" fmla="*/ 43 h 80"/>
                <a:gd name="T66" fmla="*/ 35 w 92"/>
                <a:gd name="T67" fmla="*/ 24 h 80"/>
                <a:gd name="T68" fmla="*/ 27 w 92"/>
                <a:gd name="T69" fmla="*/ 9 h 80"/>
                <a:gd name="T70" fmla="*/ 34 w 92"/>
                <a:gd name="T71" fmla="*/ 8 h 80"/>
                <a:gd name="T72" fmla="*/ 52 w 92"/>
                <a:gd name="T73" fmla="*/ 24 h 80"/>
                <a:gd name="T74" fmla="*/ 35 w 92"/>
                <a:gd name="T75" fmla="*/ 24 h 80"/>
                <a:gd name="T76" fmla="*/ 74 w 92"/>
                <a:gd name="T77" fmla="*/ 28 h 80"/>
                <a:gd name="T78" fmla="*/ 62 w 92"/>
                <a:gd name="T79" fmla="*/ 28 h 80"/>
                <a:gd name="T80" fmla="*/ 60 w 92"/>
                <a:gd name="T81" fmla="*/ 26 h 80"/>
                <a:gd name="T82" fmla="*/ 62 w 92"/>
                <a:gd name="T83" fmla="*/ 24 h 80"/>
                <a:gd name="T84" fmla="*/ 74 w 92"/>
                <a:gd name="T85" fmla="*/ 24 h 80"/>
                <a:gd name="T86" fmla="*/ 76 w 92"/>
                <a:gd name="T87" fmla="*/ 26 h 80"/>
                <a:gd name="T88" fmla="*/ 74 w 92"/>
                <a:gd name="T89" fmla="*/ 28 h 80"/>
                <a:gd name="T90" fmla="*/ 74 w 92"/>
                <a:gd name="T91" fmla="*/ 20 h 80"/>
                <a:gd name="T92" fmla="*/ 62 w 92"/>
                <a:gd name="T93" fmla="*/ 20 h 80"/>
                <a:gd name="T94" fmla="*/ 60 w 92"/>
                <a:gd name="T95" fmla="*/ 18 h 80"/>
                <a:gd name="T96" fmla="*/ 62 w 92"/>
                <a:gd name="T97" fmla="*/ 16 h 80"/>
                <a:gd name="T98" fmla="*/ 74 w 92"/>
                <a:gd name="T99" fmla="*/ 16 h 80"/>
                <a:gd name="T100" fmla="*/ 76 w 92"/>
                <a:gd name="T101" fmla="*/ 18 h 80"/>
                <a:gd name="T102" fmla="*/ 74 w 92"/>
                <a:gd name="T103" fmla="*/ 20 h 80"/>
                <a:gd name="T104" fmla="*/ 74 w 92"/>
                <a:gd name="T105" fmla="*/ 12 h 80"/>
                <a:gd name="T106" fmla="*/ 62 w 92"/>
                <a:gd name="T107" fmla="*/ 12 h 80"/>
                <a:gd name="T108" fmla="*/ 60 w 92"/>
                <a:gd name="T109" fmla="*/ 10 h 80"/>
                <a:gd name="T110" fmla="*/ 62 w 92"/>
                <a:gd name="T111" fmla="*/ 8 h 80"/>
                <a:gd name="T112" fmla="*/ 74 w 92"/>
                <a:gd name="T113" fmla="*/ 8 h 80"/>
                <a:gd name="T114" fmla="*/ 76 w 92"/>
                <a:gd name="T115" fmla="*/ 10 h 80"/>
                <a:gd name="T116" fmla="*/ 74 w 92"/>
                <a:gd name="T117" fmla="*/ 1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2" h="80">
                  <a:moveTo>
                    <a:pt x="90" y="52"/>
                  </a:moveTo>
                  <a:cubicBezTo>
                    <a:pt x="84" y="52"/>
                    <a:pt x="84" y="52"/>
                    <a:pt x="84" y="5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1" y="52"/>
                    <a:pt x="0" y="53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1" y="65"/>
                    <a:pt x="38" y="68"/>
                    <a:pt x="38" y="72"/>
                  </a:cubicBezTo>
                  <a:cubicBezTo>
                    <a:pt x="38" y="76"/>
                    <a:pt x="42" y="80"/>
                    <a:pt x="46" y="80"/>
                  </a:cubicBezTo>
                  <a:cubicBezTo>
                    <a:pt x="50" y="80"/>
                    <a:pt x="54" y="76"/>
                    <a:pt x="54" y="72"/>
                  </a:cubicBezTo>
                  <a:cubicBezTo>
                    <a:pt x="54" y="68"/>
                    <a:pt x="51" y="65"/>
                    <a:pt x="48" y="64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2" y="55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lose/>
                  <a:moveTo>
                    <a:pt x="34" y="44"/>
                  </a:moveTo>
                  <a:cubicBezTo>
                    <a:pt x="24" y="44"/>
                    <a:pt x="16" y="36"/>
                    <a:pt x="16" y="26"/>
                  </a:cubicBezTo>
                  <a:cubicBezTo>
                    <a:pt x="16" y="20"/>
                    <a:pt x="19" y="15"/>
                    <a:pt x="23" y="11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4"/>
                    <a:pt x="34" y="44"/>
                    <a:pt x="34" y="44"/>
                  </a:cubicBezTo>
                  <a:close/>
                  <a:moveTo>
                    <a:pt x="50" y="72"/>
                  </a:moveTo>
                  <a:cubicBezTo>
                    <a:pt x="50" y="74"/>
                    <a:pt x="48" y="76"/>
                    <a:pt x="46" y="76"/>
                  </a:cubicBezTo>
                  <a:cubicBezTo>
                    <a:pt x="44" y="76"/>
                    <a:pt x="42" y="74"/>
                    <a:pt x="42" y="72"/>
                  </a:cubicBezTo>
                  <a:cubicBezTo>
                    <a:pt x="42" y="70"/>
                    <a:pt x="44" y="68"/>
                    <a:pt x="46" y="68"/>
                  </a:cubicBezTo>
                  <a:cubicBezTo>
                    <a:pt x="48" y="68"/>
                    <a:pt x="50" y="70"/>
                    <a:pt x="50" y="72"/>
                  </a:cubicBezTo>
                  <a:close/>
                  <a:moveTo>
                    <a:pt x="39" y="43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1" y="35"/>
                    <a:pt x="46" y="41"/>
                    <a:pt x="39" y="43"/>
                  </a:cubicBezTo>
                  <a:close/>
                  <a:moveTo>
                    <a:pt x="35" y="24"/>
                  </a:moveTo>
                  <a:cubicBezTo>
                    <a:pt x="27" y="9"/>
                    <a:pt x="27" y="9"/>
                    <a:pt x="27" y="9"/>
                  </a:cubicBezTo>
                  <a:cubicBezTo>
                    <a:pt x="29" y="9"/>
                    <a:pt x="31" y="8"/>
                    <a:pt x="34" y="8"/>
                  </a:cubicBezTo>
                  <a:cubicBezTo>
                    <a:pt x="43" y="8"/>
                    <a:pt x="51" y="15"/>
                    <a:pt x="52" y="24"/>
                  </a:cubicBezTo>
                  <a:lnTo>
                    <a:pt x="35" y="24"/>
                  </a:lnTo>
                  <a:close/>
                  <a:moveTo>
                    <a:pt x="74" y="28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61" y="28"/>
                    <a:pt x="60" y="27"/>
                    <a:pt x="60" y="26"/>
                  </a:cubicBezTo>
                  <a:cubicBezTo>
                    <a:pt x="60" y="25"/>
                    <a:pt x="61" y="24"/>
                    <a:pt x="62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5" y="24"/>
                    <a:pt x="76" y="25"/>
                    <a:pt x="76" y="26"/>
                  </a:cubicBezTo>
                  <a:cubicBezTo>
                    <a:pt x="76" y="27"/>
                    <a:pt x="75" y="28"/>
                    <a:pt x="74" y="28"/>
                  </a:cubicBezTo>
                  <a:close/>
                  <a:moveTo>
                    <a:pt x="74" y="20"/>
                  </a:moveTo>
                  <a:cubicBezTo>
                    <a:pt x="62" y="20"/>
                    <a:pt x="62" y="20"/>
                    <a:pt x="62" y="20"/>
                  </a:cubicBezTo>
                  <a:cubicBezTo>
                    <a:pt x="61" y="20"/>
                    <a:pt x="60" y="19"/>
                    <a:pt x="60" y="18"/>
                  </a:cubicBezTo>
                  <a:cubicBezTo>
                    <a:pt x="60" y="17"/>
                    <a:pt x="61" y="16"/>
                    <a:pt x="62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5" y="16"/>
                    <a:pt x="76" y="17"/>
                    <a:pt x="76" y="18"/>
                  </a:cubicBezTo>
                  <a:cubicBezTo>
                    <a:pt x="76" y="19"/>
                    <a:pt x="75" y="20"/>
                    <a:pt x="74" y="20"/>
                  </a:cubicBezTo>
                  <a:close/>
                  <a:moveTo>
                    <a:pt x="74" y="12"/>
                  </a:moveTo>
                  <a:cubicBezTo>
                    <a:pt x="62" y="12"/>
                    <a:pt x="62" y="12"/>
                    <a:pt x="62" y="12"/>
                  </a:cubicBezTo>
                  <a:cubicBezTo>
                    <a:pt x="61" y="12"/>
                    <a:pt x="60" y="11"/>
                    <a:pt x="60" y="10"/>
                  </a:cubicBezTo>
                  <a:cubicBezTo>
                    <a:pt x="60" y="9"/>
                    <a:pt x="61" y="8"/>
                    <a:pt x="62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6" y="9"/>
                    <a:pt x="76" y="10"/>
                  </a:cubicBezTo>
                  <a:cubicBezTo>
                    <a:pt x="76" y="11"/>
                    <a:pt x="75" y="12"/>
                    <a:pt x="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3FE1322C-2535-4DB1-9CA4-0DE4143F3DCB}"/>
              </a:ext>
            </a:extLst>
          </p:cNvPr>
          <p:cNvSpPr/>
          <p:nvPr/>
        </p:nvSpPr>
        <p:spPr>
          <a:xfrm>
            <a:off x="6936014" y="4086699"/>
            <a:ext cx="2233386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nim</a:t>
            </a:r>
            <a:endParaRPr lang="en-US" sz="16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2D1DA95-D457-4A48-9B96-AF35C36FC75F}"/>
              </a:ext>
            </a:extLst>
          </p:cNvPr>
          <p:cNvSpPr/>
          <p:nvPr/>
        </p:nvSpPr>
        <p:spPr>
          <a:xfrm>
            <a:off x="9509951" y="4086699"/>
            <a:ext cx="2233386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nim</a:t>
            </a:r>
            <a:endParaRPr lang="en-US" sz="16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65D4A845-AA0D-4424-B677-ACDB95875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7915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384DFC5-92E1-4D66-A36A-EAD64497C7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7715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5" name="Picture 274">
            <a:extLst>
              <a:ext uri="{FF2B5EF4-FFF2-40B4-BE49-F238E27FC236}">
                <a16:creationId xmlns:a16="http://schemas.microsoft.com/office/drawing/2014/main" id="{31163D1A-03CB-419A-B7A9-4CEA71A0BDB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80"/>
          <a:stretch/>
        </p:blipFill>
        <p:spPr>
          <a:xfrm>
            <a:off x="0" y="1233714"/>
            <a:ext cx="12192000" cy="5673310"/>
          </a:xfrm>
          <a:prstGeom prst="rect">
            <a:avLst/>
          </a:prstGeom>
        </p:spPr>
      </p:pic>
      <p:sp>
        <p:nvSpPr>
          <p:cNvPr id="268" name="Rectangle 267">
            <a:extLst>
              <a:ext uri="{FF2B5EF4-FFF2-40B4-BE49-F238E27FC236}">
                <a16:creationId xmlns:a16="http://schemas.microsoft.com/office/drawing/2014/main" id="{6D20FE0E-18C9-4D1F-A4CA-212714500CC7}"/>
              </a:ext>
            </a:extLst>
          </p:cNvPr>
          <p:cNvSpPr/>
          <p:nvPr/>
        </p:nvSpPr>
        <p:spPr>
          <a:xfrm>
            <a:off x="0" y="1233714"/>
            <a:ext cx="12191999" cy="5673310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DDF2980A-1A36-4A16-B34B-783DD9BC0F20}"/>
              </a:ext>
            </a:extLst>
          </p:cNvPr>
          <p:cNvSpPr/>
          <p:nvPr/>
        </p:nvSpPr>
        <p:spPr>
          <a:xfrm>
            <a:off x="6004006" y="1577873"/>
            <a:ext cx="2791527" cy="4794684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6AF52F4D-021E-4B0B-BB30-EBD413C7531E}"/>
              </a:ext>
            </a:extLst>
          </p:cNvPr>
          <p:cNvSpPr/>
          <p:nvPr/>
        </p:nvSpPr>
        <p:spPr>
          <a:xfrm>
            <a:off x="8900088" y="1577873"/>
            <a:ext cx="2943446" cy="4794684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8960E2AC-2376-42F9-8B62-3627431F5BA2}"/>
              </a:ext>
            </a:extLst>
          </p:cNvPr>
          <p:cNvSpPr/>
          <p:nvPr/>
        </p:nvSpPr>
        <p:spPr>
          <a:xfrm>
            <a:off x="488577" y="1577873"/>
            <a:ext cx="5410875" cy="3121127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EFB834-2FFA-48C0-823D-45790F630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ummary</a:t>
            </a:r>
            <a:endParaRPr lang="en-US" dirty="0"/>
          </a:p>
        </p:txBody>
      </p:sp>
      <p:grpSp>
        <p:nvGrpSpPr>
          <p:cNvPr id="272" name="Group 271">
            <a:extLst>
              <a:ext uri="{FF2B5EF4-FFF2-40B4-BE49-F238E27FC236}">
                <a16:creationId xmlns:a16="http://schemas.microsoft.com/office/drawing/2014/main" id="{84D714C2-15E6-4E68-A8EF-A1C498ECA3AA}"/>
              </a:ext>
            </a:extLst>
          </p:cNvPr>
          <p:cNvGrpSpPr/>
          <p:nvPr/>
        </p:nvGrpSpPr>
        <p:grpSpPr>
          <a:xfrm>
            <a:off x="747100" y="1734187"/>
            <a:ext cx="4893829" cy="2808499"/>
            <a:chOff x="610273" y="1623411"/>
            <a:chExt cx="5383212" cy="3089349"/>
          </a:xfrm>
        </p:grpSpPr>
        <p:grpSp>
          <p:nvGrpSpPr>
            <p:cNvPr id="5" name="Group 42">
              <a:extLst>
                <a:ext uri="{FF2B5EF4-FFF2-40B4-BE49-F238E27FC236}">
                  <a16:creationId xmlns:a16="http://schemas.microsoft.com/office/drawing/2014/main" id="{3A3B6B73-A77D-47F8-A659-54B8B0D2497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0273" y="1623411"/>
              <a:ext cx="5383212" cy="3089349"/>
              <a:chOff x="232" y="1135"/>
              <a:chExt cx="5250" cy="3012"/>
            </a:xfrm>
            <a:solidFill>
              <a:schemeClr val="bg1"/>
            </a:solidFill>
          </p:grpSpPr>
          <p:sp>
            <p:nvSpPr>
              <p:cNvPr id="6" name="Freeform 43">
                <a:extLst>
                  <a:ext uri="{FF2B5EF4-FFF2-40B4-BE49-F238E27FC236}">
                    <a16:creationId xmlns:a16="http://schemas.microsoft.com/office/drawing/2014/main" id="{E7B598C9-B9DD-405A-ADE0-3A275859DF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6" y="4104"/>
                <a:ext cx="45" cy="43"/>
              </a:xfrm>
              <a:custGeom>
                <a:avLst/>
                <a:gdLst>
                  <a:gd name="T0" fmla="*/ 0 w 41"/>
                  <a:gd name="T1" fmla="*/ 30 h 38"/>
                  <a:gd name="T2" fmla="*/ 10 w 41"/>
                  <a:gd name="T3" fmla="*/ 0 h 38"/>
                  <a:gd name="T4" fmla="*/ 13 w 41"/>
                  <a:gd name="T5" fmla="*/ 0 h 38"/>
                  <a:gd name="T6" fmla="*/ 22 w 41"/>
                  <a:gd name="T7" fmla="*/ 12 h 38"/>
                  <a:gd name="T8" fmla="*/ 40 w 41"/>
                  <a:gd name="T9" fmla="*/ 25 h 38"/>
                  <a:gd name="T10" fmla="*/ 19 w 41"/>
                  <a:gd name="T11" fmla="*/ 25 h 38"/>
                  <a:gd name="T12" fmla="*/ 15 w 41"/>
                  <a:gd name="T13" fmla="*/ 37 h 38"/>
                  <a:gd name="T14" fmla="*/ 0 w 41"/>
                  <a:gd name="T15" fmla="*/ 3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8">
                    <a:moveTo>
                      <a:pt x="0" y="30"/>
                    </a:moveTo>
                    <a:lnTo>
                      <a:pt x="10" y="0"/>
                    </a:lnTo>
                    <a:lnTo>
                      <a:pt x="13" y="0"/>
                    </a:lnTo>
                    <a:lnTo>
                      <a:pt x="22" y="12"/>
                    </a:lnTo>
                    <a:lnTo>
                      <a:pt x="40" y="25"/>
                    </a:lnTo>
                    <a:lnTo>
                      <a:pt x="19" y="25"/>
                    </a:lnTo>
                    <a:lnTo>
                      <a:pt x="15" y="37"/>
                    </a:lnTo>
                    <a:lnTo>
                      <a:pt x="0" y="3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7" name="Freeform 44">
                <a:extLst>
                  <a:ext uri="{FF2B5EF4-FFF2-40B4-BE49-F238E27FC236}">
                    <a16:creationId xmlns:a16="http://schemas.microsoft.com/office/drawing/2014/main" id="{DA634589-D941-4770-8575-5654A5D0F9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1" y="4098"/>
                <a:ext cx="40" cy="42"/>
              </a:xfrm>
              <a:custGeom>
                <a:avLst/>
                <a:gdLst>
                  <a:gd name="T0" fmla="*/ 31 w 35"/>
                  <a:gd name="T1" fmla="*/ 5 h 38"/>
                  <a:gd name="T2" fmla="*/ 21 w 35"/>
                  <a:gd name="T3" fmla="*/ 37 h 38"/>
                  <a:gd name="T4" fmla="*/ 0 w 35"/>
                  <a:gd name="T5" fmla="*/ 25 h 38"/>
                  <a:gd name="T6" fmla="*/ 5 w 35"/>
                  <a:gd name="T7" fmla="*/ 7 h 38"/>
                  <a:gd name="T8" fmla="*/ 14 w 35"/>
                  <a:gd name="T9" fmla="*/ 0 h 38"/>
                  <a:gd name="T10" fmla="*/ 34 w 35"/>
                  <a:gd name="T11" fmla="*/ 5 h 38"/>
                  <a:gd name="T12" fmla="*/ 31 w 35"/>
                  <a:gd name="T13" fmla="*/ 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38">
                    <a:moveTo>
                      <a:pt x="31" y="5"/>
                    </a:moveTo>
                    <a:lnTo>
                      <a:pt x="21" y="37"/>
                    </a:lnTo>
                    <a:lnTo>
                      <a:pt x="0" y="25"/>
                    </a:lnTo>
                    <a:lnTo>
                      <a:pt x="5" y="7"/>
                    </a:lnTo>
                    <a:lnTo>
                      <a:pt x="14" y="0"/>
                    </a:lnTo>
                    <a:lnTo>
                      <a:pt x="34" y="5"/>
                    </a:lnTo>
                    <a:lnTo>
                      <a:pt x="31" y="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8" name="Freeform 45">
                <a:extLst>
                  <a:ext uri="{FF2B5EF4-FFF2-40B4-BE49-F238E27FC236}">
                    <a16:creationId xmlns:a16="http://schemas.microsoft.com/office/drawing/2014/main" id="{845071F3-EA47-4C5E-BB7B-0236A8BD6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0" y="3369"/>
                <a:ext cx="116" cy="756"/>
              </a:xfrm>
              <a:custGeom>
                <a:avLst/>
                <a:gdLst>
                  <a:gd name="T0" fmla="*/ 56 w 103"/>
                  <a:gd name="T1" fmla="*/ 625 h 674"/>
                  <a:gd name="T2" fmla="*/ 40 w 103"/>
                  <a:gd name="T3" fmla="*/ 597 h 674"/>
                  <a:gd name="T4" fmla="*/ 46 w 103"/>
                  <a:gd name="T5" fmla="*/ 551 h 674"/>
                  <a:gd name="T6" fmla="*/ 49 w 103"/>
                  <a:gd name="T7" fmla="*/ 478 h 674"/>
                  <a:gd name="T8" fmla="*/ 43 w 103"/>
                  <a:gd name="T9" fmla="*/ 438 h 674"/>
                  <a:gd name="T10" fmla="*/ 33 w 103"/>
                  <a:gd name="T11" fmla="*/ 397 h 674"/>
                  <a:gd name="T12" fmla="*/ 44 w 103"/>
                  <a:gd name="T13" fmla="*/ 372 h 674"/>
                  <a:gd name="T14" fmla="*/ 41 w 103"/>
                  <a:gd name="T15" fmla="*/ 326 h 674"/>
                  <a:gd name="T16" fmla="*/ 41 w 103"/>
                  <a:gd name="T17" fmla="*/ 309 h 674"/>
                  <a:gd name="T18" fmla="*/ 49 w 103"/>
                  <a:gd name="T19" fmla="*/ 284 h 674"/>
                  <a:gd name="T20" fmla="*/ 41 w 103"/>
                  <a:gd name="T21" fmla="*/ 265 h 674"/>
                  <a:gd name="T22" fmla="*/ 47 w 103"/>
                  <a:gd name="T23" fmla="*/ 235 h 674"/>
                  <a:gd name="T24" fmla="*/ 42 w 103"/>
                  <a:gd name="T25" fmla="*/ 198 h 674"/>
                  <a:gd name="T26" fmla="*/ 49 w 103"/>
                  <a:gd name="T27" fmla="*/ 175 h 674"/>
                  <a:gd name="T28" fmla="*/ 63 w 103"/>
                  <a:gd name="T29" fmla="*/ 155 h 674"/>
                  <a:gd name="T30" fmla="*/ 64 w 103"/>
                  <a:gd name="T31" fmla="*/ 134 h 674"/>
                  <a:gd name="T32" fmla="*/ 73 w 103"/>
                  <a:gd name="T33" fmla="*/ 112 h 674"/>
                  <a:gd name="T34" fmla="*/ 64 w 103"/>
                  <a:gd name="T35" fmla="*/ 87 h 674"/>
                  <a:gd name="T36" fmla="*/ 54 w 103"/>
                  <a:gd name="T37" fmla="*/ 36 h 674"/>
                  <a:gd name="T38" fmla="*/ 38 w 103"/>
                  <a:gd name="T39" fmla="*/ 8 h 674"/>
                  <a:gd name="T40" fmla="*/ 21 w 103"/>
                  <a:gd name="T41" fmla="*/ 10 h 674"/>
                  <a:gd name="T42" fmla="*/ 28 w 103"/>
                  <a:gd name="T43" fmla="*/ 39 h 674"/>
                  <a:gd name="T44" fmla="*/ 23 w 103"/>
                  <a:gd name="T45" fmla="*/ 104 h 674"/>
                  <a:gd name="T46" fmla="*/ 28 w 103"/>
                  <a:gd name="T47" fmla="*/ 112 h 674"/>
                  <a:gd name="T48" fmla="*/ 24 w 103"/>
                  <a:gd name="T49" fmla="*/ 147 h 674"/>
                  <a:gd name="T50" fmla="*/ 13 w 103"/>
                  <a:gd name="T51" fmla="*/ 187 h 674"/>
                  <a:gd name="T52" fmla="*/ 14 w 103"/>
                  <a:gd name="T53" fmla="*/ 216 h 674"/>
                  <a:gd name="T54" fmla="*/ 15 w 103"/>
                  <a:gd name="T55" fmla="*/ 268 h 674"/>
                  <a:gd name="T56" fmla="*/ 4 w 103"/>
                  <a:gd name="T57" fmla="*/ 340 h 674"/>
                  <a:gd name="T58" fmla="*/ 11 w 103"/>
                  <a:gd name="T59" fmla="*/ 437 h 674"/>
                  <a:gd name="T60" fmla="*/ 15 w 103"/>
                  <a:gd name="T61" fmla="*/ 451 h 674"/>
                  <a:gd name="T62" fmla="*/ 20 w 103"/>
                  <a:gd name="T63" fmla="*/ 499 h 674"/>
                  <a:gd name="T64" fmla="*/ 13 w 103"/>
                  <a:gd name="T65" fmla="*/ 535 h 674"/>
                  <a:gd name="T66" fmla="*/ 13 w 103"/>
                  <a:gd name="T67" fmla="*/ 566 h 674"/>
                  <a:gd name="T68" fmla="*/ 28 w 103"/>
                  <a:gd name="T69" fmla="*/ 605 h 674"/>
                  <a:gd name="T70" fmla="*/ 40 w 103"/>
                  <a:gd name="T71" fmla="*/ 625 h 674"/>
                  <a:gd name="T72" fmla="*/ 54 w 103"/>
                  <a:gd name="T73" fmla="*/ 637 h 674"/>
                  <a:gd name="T74" fmla="*/ 72 w 103"/>
                  <a:gd name="T75" fmla="*/ 654 h 674"/>
                  <a:gd name="T76" fmla="*/ 87 w 103"/>
                  <a:gd name="T77" fmla="*/ 673 h 674"/>
                  <a:gd name="T78" fmla="*/ 102 w 103"/>
                  <a:gd name="T79" fmla="*/ 650 h 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03" h="674">
                    <a:moveTo>
                      <a:pt x="99" y="623"/>
                    </a:moveTo>
                    <a:lnTo>
                      <a:pt x="56" y="625"/>
                    </a:lnTo>
                    <a:lnTo>
                      <a:pt x="53" y="604"/>
                    </a:lnTo>
                    <a:lnTo>
                      <a:pt x="40" y="597"/>
                    </a:lnTo>
                    <a:lnTo>
                      <a:pt x="38" y="552"/>
                    </a:lnTo>
                    <a:lnTo>
                      <a:pt x="46" y="551"/>
                    </a:lnTo>
                    <a:lnTo>
                      <a:pt x="48" y="538"/>
                    </a:lnTo>
                    <a:lnTo>
                      <a:pt x="49" y="478"/>
                    </a:lnTo>
                    <a:lnTo>
                      <a:pt x="43" y="462"/>
                    </a:lnTo>
                    <a:lnTo>
                      <a:pt x="43" y="438"/>
                    </a:lnTo>
                    <a:lnTo>
                      <a:pt x="38" y="411"/>
                    </a:lnTo>
                    <a:lnTo>
                      <a:pt x="33" y="397"/>
                    </a:lnTo>
                    <a:lnTo>
                      <a:pt x="33" y="385"/>
                    </a:lnTo>
                    <a:lnTo>
                      <a:pt x="44" y="372"/>
                    </a:lnTo>
                    <a:lnTo>
                      <a:pt x="31" y="343"/>
                    </a:lnTo>
                    <a:lnTo>
                      <a:pt x="41" y="326"/>
                    </a:lnTo>
                    <a:lnTo>
                      <a:pt x="48" y="317"/>
                    </a:lnTo>
                    <a:lnTo>
                      <a:pt x="41" y="309"/>
                    </a:lnTo>
                    <a:lnTo>
                      <a:pt x="41" y="287"/>
                    </a:lnTo>
                    <a:lnTo>
                      <a:pt x="49" y="284"/>
                    </a:lnTo>
                    <a:lnTo>
                      <a:pt x="48" y="267"/>
                    </a:lnTo>
                    <a:lnTo>
                      <a:pt x="41" y="265"/>
                    </a:lnTo>
                    <a:lnTo>
                      <a:pt x="40" y="240"/>
                    </a:lnTo>
                    <a:lnTo>
                      <a:pt x="47" y="235"/>
                    </a:lnTo>
                    <a:lnTo>
                      <a:pt x="45" y="222"/>
                    </a:lnTo>
                    <a:lnTo>
                      <a:pt x="42" y="198"/>
                    </a:lnTo>
                    <a:lnTo>
                      <a:pt x="48" y="189"/>
                    </a:lnTo>
                    <a:lnTo>
                      <a:pt x="49" y="175"/>
                    </a:lnTo>
                    <a:lnTo>
                      <a:pt x="59" y="168"/>
                    </a:lnTo>
                    <a:lnTo>
                      <a:pt x="63" y="155"/>
                    </a:lnTo>
                    <a:lnTo>
                      <a:pt x="55" y="144"/>
                    </a:lnTo>
                    <a:lnTo>
                      <a:pt x="64" y="134"/>
                    </a:lnTo>
                    <a:lnTo>
                      <a:pt x="64" y="115"/>
                    </a:lnTo>
                    <a:lnTo>
                      <a:pt x="73" y="112"/>
                    </a:lnTo>
                    <a:lnTo>
                      <a:pt x="74" y="93"/>
                    </a:lnTo>
                    <a:lnTo>
                      <a:pt x="64" y="87"/>
                    </a:lnTo>
                    <a:lnTo>
                      <a:pt x="54" y="67"/>
                    </a:lnTo>
                    <a:lnTo>
                      <a:pt x="54" y="36"/>
                    </a:lnTo>
                    <a:lnTo>
                      <a:pt x="40" y="23"/>
                    </a:lnTo>
                    <a:lnTo>
                      <a:pt x="38" y="8"/>
                    </a:lnTo>
                    <a:lnTo>
                      <a:pt x="31" y="0"/>
                    </a:lnTo>
                    <a:lnTo>
                      <a:pt x="21" y="10"/>
                    </a:lnTo>
                    <a:lnTo>
                      <a:pt x="24" y="31"/>
                    </a:lnTo>
                    <a:lnTo>
                      <a:pt x="28" y="39"/>
                    </a:lnTo>
                    <a:lnTo>
                      <a:pt x="29" y="97"/>
                    </a:lnTo>
                    <a:lnTo>
                      <a:pt x="23" y="104"/>
                    </a:lnTo>
                    <a:lnTo>
                      <a:pt x="23" y="112"/>
                    </a:lnTo>
                    <a:lnTo>
                      <a:pt x="28" y="112"/>
                    </a:lnTo>
                    <a:lnTo>
                      <a:pt x="28" y="147"/>
                    </a:lnTo>
                    <a:lnTo>
                      <a:pt x="24" y="147"/>
                    </a:lnTo>
                    <a:lnTo>
                      <a:pt x="23" y="187"/>
                    </a:lnTo>
                    <a:lnTo>
                      <a:pt x="13" y="187"/>
                    </a:lnTo>
                    <a:lnTo>
                      <a:pt x="18" y="196"/>
                    </a:lnTo>
                    <a:lnTo>
                      <a:pt x="14" y="216"/>
                    </a:lnTo>
                    <a:lnTo>
                      <a:pt x="11" y="266"/>
                    </a:lnTo>
                    <a:lnTo>
                      <a:pt x="15" y="268"/>
                    </a:lnTo>
                    <a:lnTo>
                      <a:pt x="9" y="330"/>
                    </a:lnTo>
                    <a:lnTo>
                      <a:pt x="4" y="340"/>
                    </a:lnTo>
                    <a:lnTo>
                      <a:pt x="0" y="346"/>
                    </a:lnTo>
                    <a:lnTo>
                      <a:pt x="11" y="437"/>
                    </a:lnTo>
                    <a:lnTo>
                      <a:pt x="5" y="451"/>
                    </a:lnTo>
                    <a:lnTo>
                      <a:pt x="15" y="451"/>
                    </a:lnTo>
                    <a:lnTo>
                      <a:pt x="18" y="454"/>
                    </a:lnTo>
                    <a:lnTo>
                      <a:pt x="20" y="499"/>
                    </a:lnTo>
                    <a:lnTo>
                      <a:pt x="14" y="512"/>
                    </a:lnTo>
                    <a:lnTo>
                      <a:pt x="13" y="535"/>
                    </a:lnTo>
                    <a:lnTo>
                      <a:pt x="23" y="540"/>
                    </a:lnTo>
                    <a:lnTo>
                      <a:pt x="13" y="566"/>
                    </a:lnTo>
                    <a:lnTo>
                      <a:pt x="20" y="592"/>
                    </a:lnTo>
                    <a:lnTo>
                      <a:pt x="28" y="605"/>
                    </a:lnTo>
                    <a:lnTo>
                      <a:pt x="38" y="610"/>
                    </a:lnTo>
                    <a:lnTo>
                      <a:pt x="40" y="625"/>
                    </a:lnTo>
                    <a:lnTo>
                      <a:pt x="44" y="632"/>
                    </a:lnTo>
                    <a:lnTo>
                      <a:pt x="54" y="637"/>
                    </a:lnTo>
                    <a:lnTo>
                      <a:pt x="59" y="647"/>
                    </a:lnTo>
                    <a:lnTo>
                      <a:pt x="72" y="654"/>
                    </a:lnTo>
                    <a:lnTo>
                      <a:pt x="80" y="662"/>
                    </a:lnTo>
                    <a:lnTo>
                      <a:pt x="87" y="673"/>
                    </a:lnTo>
                    <a:lnTo>
                      <a:pt x="91" y="656"/>
                    </a:lnTo>
                    <a:lnTo>
                      <a:pt x="102" y="650"/>
                    </a:lnTo>
                    <a:lnTo>
                      <a:pt x="99" y="62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9" name="Freeform 46">
                <a:extLst>
                  <a:ext uri="{FF2B5EF4-FFF2-40B4-BE49-F238E27FC236}">
                    <a16:creationId xmlns:a16="http://schemas.microsoft.com/office/drawing/2014/main" id="{AC36B2E4-49A1-4EEB-BB3C-B8519BE34F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2667"/>
                <a:ext cx="48" cy="45"/>
              </a:xfrm>
              <a:custGeom>
                <a:avLst/>
                <a:gdLst>
                  <a:gd name="T0" fmla="*/ 32 w 43"/>
                  <a:gd name="T1" fmla="*/ 1 h 41"/>
                  <a:gd name="T2" fmla="*/ 26 w 43"/>
                  <a:gd name="T3" fmla="*/ 14 h 41"/>
                  <a:gd name="T4" fmla="*/ 32 w 43"/>
                  <a:gd name="T5" fmla="*/ 21 h 41"/>
                  <a:gd name="T6" fmla="*/ 23 w 43"/>
                  <a:gd name="T7" fmla="*/ 26 h 41"/>
                  <a:gd name="T8" fmla="*/ 0 w 43"/>
                  <a:gd name="T9" fmla="*/ 26 h 41"/>
                  <a:gd name="T10" fmla="*/ 3 w 43"/>
                  <a:gd name="T11" fmla="*/ 37 h 41"/>
                  <a:gd name="T12" fmla="*/ 21 w 43"/>
                  <a:gd name="T13" fmla="*/ 38 h 41"/>
                  <a:gd name="T14" fmla="*/ 37 w 43"/>
                  <a:gd name="T15" fmla="*/ 40 h 41"/>
                  <a:gd name="T16" fmla="*/ 42 w 43"/>
                  <a:gd name="T17" fmla="*/ 29 h 41"/>
                  <a:gd name="T18" fmla="*/ 42 w 43"/>
                  <a:gd name="T19" fmla="*/ 8 h 41"/>
                  <a:gd name="T20" fmla="*/ 42 w 43"/>
                  <a:gd name="T21" fmla="*/ 0 h 41"/>
                  <a:gd name="T22" fmla="*/ 32 w 43"/>
                  <a:gd name="T23" fmla="*/ 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41">
                    <a:moveTo>
                      <a:pt x="32" y="1"/>
                    </a:moveTo>
                    <a:lnTo>
                      <a:pt x="26" y="14"/>
                    </a:lnTo>
                    <a:lnTo>
                      <a:pt x="32" y="21"/>
                    </a:lnTo>
                    <a:lnTo>
                      <a:pt x="23" y="26"/>
                    </a:lnTo>
                    <a:lnTo>
                      <a:pt x="0" y="26"/>
                    </a:lnTo>
                    <a:lnTo>
                      <a:pt x="3" y="37"/>
                    </a:lnTo>
                    <a:lnTo>
                      <a:pt x="21" y="38"/>
                    </a:lnTo>
                    <a:lnTo>
                      <a:pt x="37" y="40"/>
                    </a:lnTo>
                    <a:lnTo>
                      <a:pt x="42" y="29"/>
                    </a:lnTo>
                    <a:lnTo>
                      <a:pt x="42" y="8"/>
                    </a:lnTo>
                    <a:lnTo>
                      <a:pt x="42" y="0"/>
                    </a:lnTo>
                    <a:lnTo>
                      <a:pt x="32" y="1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0" name="Freeform 47">
                <a:extLst>
                  <a:ext uri="{FF2B5EF4-FFF2-40B4-BE49-F238E27FC236}">
                    <a16:creationId xmlns:a16="http://schemas.microsoft.com/office/drawing/2014/main" id="{EBD0D334-D30B-46D0-AB81-68D99F5198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" y="2422"/>
                <a:ext cx="462" cy="349"/>
              </a:xfrm>
              <a:custGeom>
                <a:avLst/>
                <a:gdLst>
                  <a:gd name="T0" fmla="*/ 245 w 412"/>
                  <a:gd name="T1" fmla="*/ 119 h 312"/>
                  <a:gd name="T2" fmla="*/ 229 w 412"/>
                  <a:gd name="T3" fmla="*/ 93 h 312"/>
                  <a:gd name="T4" fmla="*/ 216 w 412"/>
                  <a:gd name="T5" fmla="*/ 60 h 312"/>
                  <a:gd name="T6" fmla="*/ 196 w 412"/>
                  <a:gd name="T7" fmla="*/ 70 h 312"/>
                  <a:gd name="T8" fmla="*/ 174 w 412"/>
                  <a:gd name="T9" fmla="*/ 45 h 312"/>
                  <a:gd name="T10" fmla="*/ 164 w 412"/>
                  <a:gd name="T11" fmla="*/ 29 h 312"/>
                  <a:gd name="T12" fmla="*/ 147 w 412"/>
                  <a:gd name="T13" fmla="*/ 11 h 312"/>
                  <a:gd name="T14" fmla="*/ 125 w 412"/>
                  <a:gd name="T15" fmla="*/ 20 h 312"/>
                  <a:gd name="T16" fmla="*/ 101 w 412"/>
                  <a:gd name="T17" fmla="*/ 29 h 312"/>
                  <a:gd name="T18" fmla="*/ 63 w 412"/>
                  <a:gd name="T19" fmla="*/ 31 h 312"/>
                  <a:gd name="T20" fmla="*/ 35 w 412"/>
                  <a:gd name="T21" fmla="*/ 11 h 312"/>
                  <a:gd name="T22" fmla="*/ 0 w 412"/>
                  <a:gd name="T23" fmla="*/ 0 h 312"/>
                  <a:gd name="T24" fmla="*/ 16 w 412"/>
                  <a:gd name="T25" fmla="*/ 53 h 312"/>
                  <a:gd name="T26" fmla="*/ 25 w 412"/>
                  <a:gd name="T27" fmla="*/ 87 h 312"/>
                  <a:gd name="T28" fmla="*/ 41 w 412"/>
                  <a:gd name="T29" fmla="*/ 110 h 312"/>
                  <a:gd name="T30" fmla="*/ 59 w 412"/>
                  <a:gd name="T31" fmla="*/ 146 h 312"/>
                  <a:gd name="T32" fmla="*/ 98 w 412"/>
                  <a:gd name="T33" fmla="*/ 177 h 312"/>
                  <a:gd name="T34" fmla="*/ 78 w 412"/>
                  <a:gd name="T35" fmla="*/ 129 h 312"/>
                  <a:gd name="T36" fmla="*/ 51 w 412"/>
                  <a:gd name="T37" fmla="*/ 83 h 312"/>
                  <a:gd name="T38" fmla="*/ 31 w 412"/>
                  <a:gd name="T39" fmla="*/ 45 h 312"/>
                  <a:gd name="T40" fmla="*/ 41 w 412"/>
                  <a:gd name="T41" fmla="*/ 28 h 312"/>
                  <a:gd name="T42" fmla="*/ 64 w 412"/>
                  <a:gd name="T43" fmla="*/ 49 h 312"/>
                  <a:gd name="T44" fmla="*/ 78 w 412"/>
                  <a:gd name="T45" fmla="*/ 88 h 312"/>
                  <a:gd name="T46" fmla="*/ 97 w 412"/>
                  <a:gd name="T47" fmla="*/ 112 h 312"/>
                  <a:gd name="T48" fmla="*/ 110 w 412"/>
                  <a:gd name="T49" fmla="*/ 132 h 312"/>
                  <a:gd name="T50" fmla="*/ 129 w 412"/>
                  <a:gd name="T51" fmla="*/ 158 h 312"/>
                  <a:gd name="T52" fmla="*/ 140 w 412"/>
                  <a:gd name="T53" fmla="*/ 172 h 312"/>
                  <a:gd name="T54" fmla="*/ 147 w 412"/>
                  <a:gd name="T55" fmla="*/ 207 h 312"/>
                  <a:gd name="T56" fmla="*/ 156 w 412"/>
                  <a:gd name="T57" fmla="*/ 230 h 312"/>
                  <a:gd name="T58" fmla="*/ 275 w 412"/>
                  <a:gd name="T59" fmla="*/ 295 h 312"/>
                  <a:gd name="T60" fmla="*/ 299 w 412"/>
                  <a:gd name="T61" fmla="*/ 291 h 312"/>
                  <a:gd name="T62" fmla="*/ 327 w 412"/>
                  <a:gd name="T63" fmla="*/ 311 h 312"/>
                  <a:gd name="T64" fmla="*/ 346 w 412"/>
                  <a:gd name="T65" fmla="*/ 290 h 312"/>
                  <a:gd name="T66" fmla="*/ 370 w 412"/>
                  <a:gd name="T67" fmla="*/ 263 h 312"/>
                  <a:gd name="T68" fmla="*/ 396 w 412"/>
                  <a:gd name="T69" fmla="*/ 250 h 312"/>
                  <a:gd name="T70" fmla="*/ 405 w 412"/>
                  <a:gd name="T71" fmla="*/ 218 h 312"/>
                  <a:gd name="T72" fmla="*/ 408 w 412"/>
                  <a:gd name="T73" fmla="*/ 200 h 312"/>
                  <a:gd name="T74" fmla="*/ 362 w 412"/>
                  <a:gd name="T75" fmla="*/ 208 h 312"/>
                  <a:gd name="T76" fmla="*/ 325 w 412"/>
                  <a:gd name="T77" fmla="*/ 245 h 312"/>
                  <a:gd name="T78" fmla="*/ 269 w 412"/>
                  <a:gd name="T79" fmla="*/ 229 h 312"/>
                  <a:gd name="T80" fmla="*/ 254 w 412"/>
                  <a:gd name="T81" fmla="*/ 160 h 312"/>
                  <a:gd name="T82" fmla="*/ 265 w 412"/>
                  <a:gd name="T83" fmla="*/ 119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12" h="312">
                    <a:moveTo>
                      <a:pt x="265" y="119"/>
                    </a:moveTo>
                    <a:lnTo>
                      <a:pt x="245" y="119"/>
                    </a:lnTo>
                    <a:lnTo>
                      <a:pt x="241" y="99"/>
                    </a:lnTo>
                    <a:lnTo>
                      <a:pt x="229" y="93"/>
                    </a:lnTo>
                    <a:lnTo>
                      <a:pt x="225" y="72"/>
                    </a:lnTo>
                    <a:lnTo>
                      <a:pt x="216" y="60"/>
                    </a:lnTo>
                    <a:lnTo>
                      <a:pt x="201" y="49"/>
                    </a:lnTo>
                    <a:lnTo>
                      <a:pt x="196" y="70"/>
                    </a:lnTo>
                    <a:lnTo>
                      <a:pt x="181" y="70"/>
                    </a:lnTo>
                    <a:lnTo>
                      <a:pt x="174" y="45"/>
                    </a:lnTo>
                    <a:lnTo>
                      <a:pt x="165" y="43"/>
                    </a:lnTo>
                    <a:lnTo>
                      <a:pt x="164" y="29"/>
                    </a:lnTo>
                    <a:lnTo>
                      <a:pt x="152" y="26"/>
                    </a:lnTo>
                    <a:lnTo>
                      <a:pt x="147" y="11"/>
                    </a:lnTo>
                    <a:lnTo>
                      <a:pt x="137" y="19"/>
                    </a:lnTo>
                    <a:lnTo>
                      <a:pt x="125" y="20"/>
                    </a:lnTo>
                    <a:lnTo>
                      <a:pt x="122" y="29"/>
                    </a:lnTo>
                    <a:lnTo>
                      <a:pt x="101" y="29"/>
                    </a:lnTo>
                    <a:lnTo>
                      <a:pt x="85" y="36"/>
                    </a:lnTo>
                    <a:lnTo>
                      <a:pt x="63" y="31"/>
                    </a:lnTo>
                    <a:lnTo>
                      <a:pt x="47" y="15"/>
                    </a:lnTo>
                    <a:lnTo>
                      <a:pt x="35" y="11"/>
                    </a:lnTo>
                    <a:lnTo>
                      <a:pt x="31" y="2"/>
                    </a:lnTo>
                    <a:lnTo>
                      <a:pt x="0" y="0"/>
                    </a:lnTo>
                    <a:lnTo>
                      <a:pt x="3" y="37"/>
                    </a:lnTo>
                    <a:lnTo>
                      <a:pt x="16" y="53"/>
                    </a:lnTo>
                    <a:lnTo>
                      <a:pt x="29" y="73"/>
                    </a:lnTo>
                    <a:lnTo>
                      <a:pt x="25" y="87"/>
                    </a:lnTo>
                    <a:lnTo>
                      <a:pt x="17" y="92"/>
                    </a:lnTo>
                    <a:lnTo>
                      <a:pt x="41" y="110"/>
                    </a:lnTo>
                    <a:lnTo>
                      <a:pt x="57" y="123"/>
                    </a:lnTo>
                    <a:lnTo>
                      <a:pt x="59" y="146"/>
                    </a:lnTo>
                    <a:lnTo>
                      <a:pt x="87" y="177"/>
                    </a:lnTo>
                    <a:lnTo>
                      <a:pt x="98" y="177"/>
                    </a:lnTo>
                    <a:lnTo>
                      <a:pt x="91" y="154"/>
                    </a:lnTo>
                    <a:lnTo>
                      <a:pt x="78" y="129"/>
                    </a:lnTo>
                    <a:lnTo>
                      <a:pt x="69" y="105"/>
                    </a:lnTo>
                    <a:lnTo>
                      <a:pt x="51" y="83"/>
                    </a:lnTo>
                    <a:lnTo>
                      <a:pt x="40" y="63"/>
                    </a:lnTo>
                    <a:lnTo>
                      <a:pt x="31" y="45"/>
                    </a:lnTo>
                    <a:lnTo>
                      <a:pt x="31" y="22"/>
                    </a:lnTo>
                    <a:lnTo>
                      <a:pt x="41" y="28"/>
                    </a:lnTo>
                    <a:lnTo>
                      <a:pt x="52" y="40"/>
                    </a:lnTo>
                    <a:lnTo>
                      <a:pt x="64" y="49"/>
                    </a:lnTo>
                    <a:lnTo>
                      <a:pt x="66" y="76"/>
                    </a:lnTo>
                    <a:lnTo>
                      <a:pt x="78" y="88"/>
                    </a:lnTo>
                    <a:lnTo>
                      <a:pt x="89" y="106"/>
                    </a:lnTo>
                    <a:lnTo>
                      <a:pt x="97" y="112"/>
                    </a:lnTo>
                    <a:lnTo>
                      <a:pt x="96" y="127"/>
                    </a:lnTo>
                    <a:lnTo>
                      <a:pt x="110" y="132"/>
                    </a:lnTo>
                    <a:lnTo>
                      <a:pt x="111" y="150"/>
                    </a:lnTo>
                    <a:lnTo>
                      <a:pt x="129" y="158"/>
                    </a:lnTo>
                    <a:lnTo>
                      <a:pt x="129" y="171"/>
                    </a:lnTo>
                    <a:lnTo>
                      <a:pt x="140" y="172"/>
                    </a:lnTo>
                    <a:lnTo>
                      <a:pt x="141" y="190"/>
                    </a:lnTo>
                    <a:lnTo>
                      <a:pt x="147" y="207"/>
                    </a:lnTo>
                    <a:lnTo>
                      <a:pt x="142" y="222"/>
                    </a:lnTo>
                    <a:lnTo>
                      <a:pt x="156" y="230"/>
                    </a:lnTo>
                    <a:lnTo>
                      <a:pt x="235" y="282"/>
                    </a:lnTo>
                    <a:lnTo>
                      <a:pt x="275" y="295"/>
                    </a:lnTo>
                    <a:lnTo>
                      <a:pt x="288" y="286"/>
                    </a:lnTo>
                    <a:lnTo>
                      <a:pt x="299" y="291"/>
                    </a:lnTo>
                    <a:lnTo>
                      <a:pt x="316" y="297"/>
                    </a:lnTo>
                    <a:lnTo>
                      <a:pt x="327" y="311"/>
                    </a:lnTo>
                    <a:lnTo>
                      <a:pt x="333" y="293"/>
                    </a:lnTo>
                    <a:lnTo>
                      <a:pt x="346" y="290"/>
                    </a:lnTo>
                    <a:lnTo>
                      <a:pt x="348" y="272"/>
                    </a:lnTo>
                    <a:lnTo>
                      <a:pt x="370" y="263"/>
                    </a:lnTo>
                    <a:lnTo>
                      <a:pt x="378" y="260"/>
                    </a:lnTo>
                    <a:lnTo>
                      <a:pt x="396" y="250"/>
                    </a:lnTo>
                    <a:lnTo>
                      <a:pt x="406" y="237"/>
                    </a:lnTo>
                    <a:lnTo>
                      <a:pt x="405" y="218"/>
                    </a:lnTo>
                    <a:lnTo>
                      <a:pt x="411" y="214"/>
                    </a:lnTo>
                    <a:lnTo>
                      <a:pt x="408" y="200"/>
                    </a:lnTo>
                    <a:lnTo>
                      <a:pt x="375" y="197"/>
                    </a:lnTo>
                    <a:lnTo>
                      <a:pt x="362" y="208"/>
                    </a:lnTo>
                    <a:lnTo>
                      <a:pt x="347" y="238"/>
                    </a:lnTo>
                    <a:lnTo>
                      <a:pt x="325" y="245"/>
                    </a:lnTo>
                    <a:lnTo>
                      <a:pt x="293" y="246"/>
                    </a:lnTo>
                    <a:lnTo>
                      <a:pt x="269" y="229"/>
                    </a:lnTo>
                    <a:lnTo>
                      <a:pt x="262" y="188"/>
                    </a:lnTo>
                    <a:lnTo>
                      <a:pt x="254" y="160"/>
                    </a:lnTo>
                    <a:lnTo>
                      <a:pt x="261" y="139"/>
                    </a:lnTo>
                    <a:lnTo>
                      <a:pt x="265" y="11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1" name="Freeform 48">
                <a:extLst>
                  <a:ext uri="{FF2B5EF4-FFF2-40B4-BE49-F238E27FC236}">
                    <a16:creationId xmlns:a16="http://schemas.microsoft.com/office/drawing/2014/main" id="{438E96DD-CC59-43C3-9DBC-21E3B6BFF5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2747"/>
                <a:ext cx="110" cy="54"/>
              </a:xfrm>
              <a:custGeom>
                <a:avLst/>
                <a:gdLst>
                  <a:gd name="T0" fmla="*/ 15 w 98"/>
                  <a:gd name="T1" fmla="*/ 8 h 49"/>
                  <a:gd name="T2" fmla="*/ 13 w 98"/>
                  <a:gd name="T3" fmla="*/ 20 h 49"/>
                  <a:gd name="T4" fmla="*/ 3 w 98"/>
                  <a:gd name="T5" fmla="*/ 20 h 49"/>
                  <a:gd name="T6" fmla="*/ 0 w 98"/>
                  <a:gd name="T7" fmla="*/ 34 h 49"/>
                  <a:gd name="T8" fmla="*/ 11 w 98"/>
                  <a:gd name="T9" fmla="*/ 29 h 49"/>
                  <a:gd name="T10" fmla="*/ 27 w 98"/>
                  <a:gd name="T11" fmla="*/ 29 h 49"/>
                  <a:gd name="T12" fmla="*/ 29 w 98"/>
                  <a:gd name="T13" fmla="*/ 48 h 49"/>
                  <a:gd name="T14" fmla="*/ 42 w 98"/>
                  <a:gd name="T15" fmla="*/ 40 h 49"/>
                  <a:gd name="T16" fmla="*/ 61 w 98"/>
                  <a:gd name="T17" fmla="*/ 40 h 49"/>
                  <a:gd name="T18" fmla="*/ 66 w 98"/>
                  <a:gd name="T19" fmla="*/ 25 h 49"/>
                  <a:gd name="T20" fmla="*/ 88 w 98"/>
                  <a:gd name="T21" fmla="*/ 25 h 49"/>
                  <a:gd name="T22" fmla="*/ 97 w 98"/>
                  <a:gd name="T23" fmla="*/ 14 h 49"/>
                  <a:gd name="T24" fmla="*/ 82 w 98"/>
                  <a:gd name="T25" fmla="*/ 10 h 49"/>
                  <a:gd name="T26" fmla="*/ 73 w 98"/>
                  <a:gd name="T27" fmla="*/ 1 h 49"/>
                  <a:gd name="T28" fmla="*/ 50 w 98"/>
                  <a:gd name="T29" fmla="*/ 1 h 49"/>
                  <a:gd name="T30" fmla="*/ 40 w 98"/>
                  <a:gd name="T31" fmla="*/ 8 h 49"/>
                  <a:gd name="T32" fmla="*/ 35 w 98"/>
                  <a:gd name="T33" fmla="*/ 0 h 49"/>
                  <a:gd name="T34" fmla="*/ 24 w 98"/>
                  <a:gd name="T35" fmla="*/ 7 h 49"/>
                  <a:gd name="T36" fmla="*/ 15 w 98"/>
                  <a:gd name="T37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8" h="49">
                    <a:moveTo>
                      <a:pt x="15" y="8"/>
                    </a:moveTo>
                    <a:lnTo>
                      <a:pt x="13" y="20"/>
                    </a:lnTo>
                    <a:lnTo>
                      <a:pt x="3" y="20"/>
                    </a:lnTo>
                    <a:lnTo>
                      <a:pt x="0" y="34"/>
                    </a:lnTo>
                    <a:lnTo>
                      <a:pt x="11" y="29"/>
                    </a:lnTo>
                    <a:lnTo>
                      <a:pt x="27" y="29"/>
                    </a:lnTo>
                    <a:lnTo>
                      <a:pt x="29" y="48"/>
                    </a:lnTo>
                    <a:lnTo>
                      <a:pt x="42" y="40"/>
                    </a:lnTo>
                    <a:lnTo>
                      <a:pt x="61" y="40"/>
                    </a:lnTo>
                    <a:lnTo>
                      <a:pt x="66" y="25"/>
                    </a:lnTo>
                    <a:lnTo>
                      <a:pt x="88" y="25"/>
                    </a:lnTo>
                    <a:lnTo>
                      <a:pt x="97" y="14"/>
                    </a:lnTo>
                    <a:lnTo>
                      <a:pt x="82" y="10"/>
                    </a:lnTo>
                    <a:lnTo>
                      <a:pt x="73" y="1"/>
                    </a:lnTo>
                    <a:lnTo>
                      <a:pt x="50" y="1"/>
                    </a:lnTo>
                    <a:lnTo>
                      <a:pt x="40" y="8"/>
                    </a:lnTo>
                    <a:lnTo>
                      <a:pt x="35" y="0"/>
                    </a:lnTo>
                    <a:lnTo>
                      <a:pt x="24" y="7"/>
                    </a:lnTo>
                    <a:lnTo>
                      <a:pt x="15" y="8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" name="Freeform 49">
                <a:extLst>
                  <a:ext uri="{FF2B5EF4-FFF2-40B4-BE49-F238E27FC236}">
                    <a16:creationId xmlns:a16="http://schemas.microsoft.com/office/drawing/2014/main" id="{F86D996B-9AB7-4AE0-9467-6E1ACE8640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3" y="2775"/>
                <a:ext cx="74" cy="72"/>
              </a:xfrm>
              <a:custGeom>
                <a:avLst/>
                <a:gdLst>
                  <a:gd name="T0" fmla="*/ 60 w 66"/>
                  <a:gd name="T1" fmla="*/ 0 h 63"/>
                  <a:gd name="T2" fmla="*/ 38 w 66"/>
                  <a:gd name="T3" fmla="*/ 0 h 63"/>
                  <a:gd name="T4" fmla="*/ 33 w 66"/>
                  <a:gd name="T5" fmla="*/ 14 h 63"/>
                  <a:gd name="T6" fmla="*/ 14 w 66"/>
                  <a:gd name="T7" fmla="*/ 15 h 63"/>
                  <a:gd name="T8" fmla="*/ 0 w 66"/>
                  <a:gd name="T9" fmla="*/ 23 h 63"/>
                  <a:gd name="T10" fmla="*/ 8 w 66"/>
                  <a:gd name="T11" fmla="*/ 31 h 63"/>
                  <a:gd name="T12" fmla="*/ 15 w 66"/>
                  <a:gd name="T13" fmla="*/ 49 h 63"/>
                  <a:gd name="T14" fmla="*/ 25 w 66"/>
                  <a:gd name="T15" fmla="*/ 60 h 63"/>
                  <a:gd name="T16" fmla="*/ 56 w 66"/>
                  <a:gd name="T17" fmla="*/ 62 h 63"/>
                  <a:gd name="T18" fmla="*/ 60 w 66"/>
                  <a:gd name="T19" fmla="*/ 18 h 63"/>
                  <a:gd name="T20" fmla="*/ 65 w 66"/>
                  <a:gd name="T21" fmla="*/ 7 h 63"/>
                  <a:gd name="T22" fmla="*/ 60 w 66"/>
                  <a:gd name="T23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63">
                    <a:moveTo>
                      <a:pt x="60" y="0"/>
                    </a:moveTo>
                    <a:lnTo>
                      <a:pt x="38" y="0"/>
                    </a:lnTo>
                    <a:lnTo>
                      <a:pt x="33" y="14"/>
                    </a:lnTo>
                    <a:lnTo>
                      <a:pt x="14" y="15"/>
                    </a:lnTo>
                    <a:lnTo>
                      <a:pt x="0" y="23"/>
                    </a:lnTo>
                    <a:lnTo>
                      <a:pt x="8" y="31"/>
                    </a:lnTo>
                    <a:lnTo>
                      <a:pt x="15" y="49"/>
                    </a:lnTo>
                    <a:lnTo>
                      <a:pt x="25" y="60"/>
                    </a:lnTo>
                    <a:lnTo>
                      <a:pt x="56" y="62"/>
                    </a:lnTo>
                    <a:lnTo>
                      <a:pt x="60" y="18"/>
                    </a:lnTo>
                    <a:lnTo>
                      <a:pt x="65" y="7"/>
                    </a:lnTo>
                    <a:lnTo>
                      <a:pt x="60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" name="Freeform 50">
                <a:extLst>
                  <a:ext uri="{FF2B5EF4-FFF2-40B4-BE49-F238E27FC236}">
                    <a16:creationId xmlns:a16="http://schemas.microsoft.com/office/drawing/2014/main" id="{DBBAED30-9248-48D5-8527-CEBC6E205C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5" y="3454"/>
                <a:ext cx="272" cy="616"/>
              </a:xfrm>
              <a:custGeom>
                <a:avLst/>
                <a:gdLst>
                  <a:gd name="T0" fmla="*/ 53 w 243"/>
                  <a:gd name="T1" fmla="*/ 0 h 550"/>
                  <a:gd name="T2" fmla="*/ 84 w 243"/>
                  <a:gd name="T3" fmla="*/ 17 h 550"/>
                  <a:gd name="T4" fmla="*/ 110 w 243"/>
                  <a:gd name="T5" fmla="*/ 13 h 550"/>
                  <a:gd name="T6" fmla="*/ 128 w 243"/>
                  <a:gd name="T7" fmla="*/ 26 h 550"/>
                  <a:gd name="T8" fmla="*/ 145 w 243"/>
                  <a:gd name="T9" fmla="*/ 37 h 550"/>
                  <a:gd name="T10" fmla="*/ 170 w 243"/>
                  <a:gd name="T11" fmla="*/ 49 h 550"/>
                  <a:gd name="T12" fmla="*/ 179 w 243"/>
                  <a:gd name="T13" fmla="*/ 57 h 550"/>
                  <a:gd name="T14" fmla="*/ 170 w 243"/>
                  <a:gd name="T15" fmla="*/ 92 h 550"/>
                  <a:gd name="T16" fmla="*/ 216 w 243"/>
                  <a:gd name="T17" fmla="*/ 85 h 550"/>
                  <a:gd name="T18" fmla="*/ 232 w 243"/>
                  <a:gd name="T19" fmla="*/ 67 h 550"/>
                  <a:gd name="T20" fmla="*/ 241 w 243"/>
                  <a:gd name="T21" fmla="*/ 82 h 550"/>
                  <a:gd name="T22" fmla="*/ 231 w 243"/>
                  <a:gd name="T23" fmla="*/ 96 h 550"/>
                  <a:gd name="T24" fmla="*/ 217 w 243"/>
                  <a:gd name="T25" fmla="*/ 108 h 550"/>
                  <a:gd name="T26" fmla="*/ 201 w 243"/>
                  <a:gd name="T27" fmla="*/ 128 h 550"/>
                  <a:gd name="T28" fmla="*/ 188 w 243"/>
                  <a:gd name="T29" fmla="*/ 149 h 550"/>
                  <a:gd name="T30" fmla="*/ 177 w 243"/>
                  <a:gd name="T31" fmla="*/ 179 h 550"/>
                  <a:gd name="T32" fmla="*/ 183 w 243"/>
                  <a:gd name="T33" fmla="*/ 219 h 550"/>
                  <a:gd name="T34" fmla="*/ 189 w 243"/>
                  <a:gd name="T35" fmla="*/ 224 h 550"/>
                  <a:gd name="T36" fmla="*/ 204 w 243"/>
                  <a:gd name="T37" fmla="*/ 228 h 550"/>
                  <a:gd name="T38" fmla="*/ 212 w 243"/>
                  <a:gd name="T39" fmla="*/ 252 h 550"/>
                  <a:gd name="T40" fmla="*/ 201 w 243"/>
                  <a:gd name="T41" fmla="*/ 277 h 550"/>
                  <a:gd name="T42" fmla="*/ 185 w 243"/>
                  <a:gd name="T43" fmla="*/ 289 h 550"/>
                  <a:gd name="T44" fmla="*/ 151 w 243"/>
                  <a:gd name="T45" fmla="*/ 295 h 550"/>
                  <a:gd name="T46" fmla="*/ 138 w 243"/>
                  <a:gd name="T47" fmla="*/ 301 h 550"/>
                  <a:gd name="T48" fmla="*/ 141 w 243"/>
                  <a:gd name="T49" fmla="*/ 336 h 550"/>
                  <a:gd name="T50" fmla="*/ 104 w 243"/>
                  <a:gd name="T51" fmla="*/ 329 h 550"/>
                  <a:gd name="T52" fmla="*/ 112 w 243"/>
                  <a:gd name="T53" fmla="*/ 352 h 550"/>
                  <a:gd name="T54" fmla="*/ 119 w 243"/>
                  <a:gd name="T55" fmla="*/ 374 h 550"/>
                  <a:gd name="T56" fmla="*/ 107 w 243"/>
                  <a:gd name="T57" fmla="*/ 388 h 550"/>
                  <a:gd name="T58" fmla="*/ 93 w 243"/>
                  <a:gd name="T59" fmla="*/ 410 h 550"/>
                  <a:gd name="T60" fmla="*/ 81 w 243"/>
                  <a:gd name="T61" fmla="*/ 421 h 550"/>
                  <a:gd name="T62" fmla="*/ 101 w 243"/>
                  <a:gd name="T63" fmla="*/ 450 h 550"/>
                  <a:gd name="T64" fmla="*/ 101 w 243"/>
                  <a:gd name="T65" fmla="*/ 469 h 550"/>
                  <a:gd name="T66" fmla="*/ 87 w 243"/>
                  <a:gd name="T67" fmla="*/ 483 h 550"/>
                  <a:gd name="T68" fmla="*/ 77 w 243"/>
                  <a:gd name="T69" fmla="*/ 510 h 550"/>
                  <a:gd name="T70" fmla="*/ 70 w 243"/>
                  <a:gd name="T71" fmla="*/ 529 h 550"/>
                  <a:gd name="T72" fmla="*/ 25 w 243"/>
                  <a:gd name="T73" fmla="*/ 549 h 550"/>
                  <a:gd name="T74" fmla="*/ 9 w 243"/>
                  <a:gd name="T75" fmla="*/ 522 h 550"/>
                  <a:gd name="T76" fmla="*/ 15 w 243"/>
                  <a:gd name="T77" fmla="*/ 475 h 550"/>
                  <a:gd name="T78" fmla="*/ 19 w 243"/>
                  <a:gd name="T79" fmla="*/ 402 h 550"/>
                  <a:gd name="T80" fmla="*/ 12 w 243"/>
                  <a:gd name="T81" fmla="*/ 363 h 550"/>
                  <a:gd name="T82" fmla="*/ 2 w 243"/>
                  <a:gd name="T83" fmla="*/ 322 h 550"/>
                  <a:gd name="T84" fmla="*/ 14 w 243"/>
                  <a:gd name="T85" fmla="*/ 297 h 550"/>
                  <a:gd name="T86" fmla="*/ 10 w 243"/>
                  <a:gd name="T87" fmla="*/ 251 h 550"/>
                  <a:gd name="T88" fmla="*/ 10 w 243"/>
                  <a:gd name="T89" fmla="*/ 234 h 550"/>
                  <a:gd name="T90" fmla="*/ 19 w 243"/>
                  <a:gd name="T91" fmla="*/ 209 h 550"/>
                  <a:gd name="T92" fmla="*/ 10 w 243"/>
                  <a:gd name="T93" fmla="*/ 190 h 550"/>
                  <a:gd name="T94" fmla="*/ 16 w 243"/>
                  <a:gd name="T95" fmla="*/ 160 h 550"/>
                  <a:gd name="T96" fmla="*/ 11 w 243"/>
                  <a:gd name="T97" fmla="*/ 123 h 550"/>
                  <a:gd name="T98" fmla="*/ 19 w 243"/>
                  <a:gd name="T99" fmla="*/ 100 h 550"/>
                  <a:gd name="T100" fmla="*/ 32 w 243"/>
                  <a:gd name="T101" fmla="*/ 80 h 550"/>
                  <a:gd name="T102" fmla="*/ 33 w 243"/>
                  <a:gd name="T103" fmla="*/ 59 h 550"/>
                  <a:gd name="T104" fmla="*/ 42 w 243"/>
                  <a:gd name="T105" fmla="*/ 37 h 5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3" h="550">
                    <a:moveTo>
                      <a:pt x="44" y="19"/>
                    </a:moveTo>
                    <a:lnTo>
                      <a:pt x="53" y="0"/>
                    </a:lnTo>
                    <a:lnTo>
                      <a:pt x="67" y="11"/>
                    </a:lnTo>
                    <a:lnTo>
                      <a:pt x="84" y="17"/>
                    </a:lnTo>
                    <a:lnTo>
                      <a:pt x="101" y="3"/>
                    </a:lnTo>
                    <a:lnTo>
                      <a:pt x="110" y="13"/>
                    </a:lnTo>
                    <a:lnTo>
                      <a:pt x="124" y="19"/>
                    </a:lnTo>
                    <a:lnTo>
                      <a:pt x="128" y="26"/>
                    </a:lnTo>
                    <a:lnTo>
                      <a:pt x="137" y="30"/>
                    </a:lnTo>
                    <a:lnTo>
                      <a:pt x="145" y="37"/>
                    </a:lnTo>
                    <a:lnTo>
                      <a:pt x="149" y="47"/>
                    </a:lnTo>
                    <a:lnTo>
                      <a:pt x="170" y="49"/>
                    </a:lnTo>
                    <a:lnTo>
                      <a:pt x="174" y="52"/>
                    </a:lnTo>
                    <a:lnTo>
                      <a:pt x="179" y="57"/>
                    </a:lnTo>
                    <a:lnTo>
                      <a:pt x="173" y="78"/>
                    </a:lnTo>
                    <a:lnTo>
                      <a:pt x="170" y="92"/>
                    </a:lnTo>
                    <a:lnTo>
                      <a:pt x="215" y="92"/>
                    </a:lnTo>
                    <a:lnTo>
                      <a:pt x="216" y="85"/>
                    </a:lnTo>
                    <a:lnTo>
                      <a:pt x="225" y="79"/>
                    </a:lnTo>
                    <a:lnTo>
                      <a:pt x="232" y="67"/>
                    </a:lnTo>
                    <a:lnTo>
                      <a:pt x="234" y="82"/>
                    </a:lnTo>
                    <a:lnTo>
                      <a:pt x="241" y="82"/>
                    </a:lnTo>
                    <a:lnTo>
                      <a:pt x="242" y="94"/>
                    </a:lnTo>
                    <a:lnTo>
                      <a:pt x="231" y="96"/>
                    </a:lnTo>
                    <a:lnTo>
                      <a:pt x="223" y="106"/>
                    </a:lnTo>
                    <a:lnTo>
                      <a:pt x="217" y="108"/>
                    </a:lnTo>
                    <a:lnTo>
                      <a:pt x="209" y="119"/>
                    </a:lnTo>
                    <a:lnTo>
                      <a:pt x="201" y="128"/>
                    </a:lnTo>
                    <a:lnTo>
                      <a:pt x="195" y="139"/>
                    </a:lnTo>
                    <a:lnTo>
                      <a:pt x="188" y="149"/>
                    </a:lnTo>
                    <a:lnTo>
                      <a:pt x="179" y="163"/>
                    </a:lnTo>
                    <a:lnTo>
                      <a:pt x="177" y="179"/>
                    </a:lnTo>
                    <a:lnTo>
                      <a:pt x="179" y="202"/>
                    </a:lnTo>
                    <a:lnTo>
                      <a:pt x="183" y="219"/>
                    </a:lnTo>
                    <a:lnTo>
                      <a:pt x="189" y="216"/>
                    </a:lnTo>
                    <a:lnTo>
                      <a:pt x="189" y="224"/>
                    </a:lnTo>
                    <a:lnTo>
                      <a:pt x="195" y="227"/>
                    </a:lnTo>
                    <a:lnTo>
                      <a:pt x="204" y="228"/>
                    </a:lnTo>
                    <a:lnTo>
                      <a:pt x="204" y="249"/>
                    </a:lnTo>
                    <a:lnTo>
                      <a:pt x="212" y="252"/>
                    </a:lnTo>
                    <a:lnTo>
                      <a:pt x="210" y="271"/>
                    </a:lnTo>
                    <a:lnTo>
                      <a:pt x="201" y="277"/>
                    </a:lnTo>
                    <a:lnTo>
                      <a:pt x="189" y="279"/>
                    </a:lnTo>
                    <a:lnTo>
                      <a:pt x="185" y="289"/>
                    </a:lnTo>
                    <a:lnTo>
                      <a:pt x="178" y="290"/>
                    </a:lnTo>
                    <a:lnTo>
                      <a:pt x="151" y="295"/>
                    </a:lnTo>
                    <a:lnTo>
                      <a:pt x="141" y="296"/>
                    </a:lnTo>
                    <a:lnTo>
                      <a:pt x="138" y="301"/>
                    </a:lnTo>
                    <a:lnTo>
                      <a:pt x="141" y="316"/>
                    </a:lnTo>
                    <a:lnTo>
                      <a:pt x="141" y="336"/>
                    </a:lnTo>
                    <a:lnTo>
                      <a:pt x="127" y="341"/>
                    </a:lnTo>
                    <a:lnTo>
                      <a:pt x="104" y="329"/>
                    </a:lnTo>
                    <a:lnTo>
                      <a:pt x="101" y="344"/>
                    </a:lnTo>
                    <a:lnTo>
                      <a:pt x="112" y="352"/>
                    </a:lnTo>
                    <a:lnTo>
                      <a:pt x="116" y="362"/>
                    </a:lnTo>
                    <a:lnTo>
                      <a:pt x="119" y="374"/>
                    </a:lnTo>
                    <a:lnTo>
                      <a:pt x="113" y="380"/>
                    </a:lnTo>
                    <a:lnTo>
                      <a:pt x="107" y="388"/>
                    </a:lnTo>
                    <a:lnTo>
                      <a:pt x="101" y="407"/>
                    </a:lnTo>
                    <a:lnTo>
                      <a:pt x="93" y="410"/>
                    </a:lnTo>
                    <a:lnTo>
                      <a:pt x="91" y="418"/>
                    </a:lnTo>
                    <a:lnTo>
                      <a:pt x="81" y="421"/>
                    </a:lnTo>
                    <a:lnTo>
                      <a:pt x="79" y="441"/>
                    </a:lnTo>
                    <a:lnTo>
                      <a:pt x="101" y="450"/>
                    </a:lnTo>
                    <a:lnTo>
                      <a:pt x="101" y="460"/>
                    </a:lnTo>
                    <a:lnTo>
                      <a:pt x="101" y="469"/>
                    </a:lnTo>
                    <a:lnTo>
                      <a:pt x="93" y="475"/>
                    </a:lnTo>
                    <a:lnTo>
                      <a:pt x="87" y="483"/>
                    </a:lnTo>
                    <a:lnTo>
                      <a:pt x="88" y="507"/>
                    </a:lnTo>
                    <a:lnTo>
                      <a:pt x="77" y="510"/>
                    </a:lnTo>
                    <a:lnTo>
                      <a:pt x="69" y="516"/>
                    </a:lnTo>
                    <a:lnTo>
                      <a:pt x="70" y="529"/>
                    </a:lnTo>
                    <a:lnTo>
                      <a:pt x="69" y="547"/>
                    </a:lnTo>
                    <a:lnTo>
                      <a:pt x="25" y="549"/>
                    </a:lnTo>
                    <a:lnTo>
                      <a:pt x="22" y="529"/>
                    </a:lnTo>
                    <a:lnTo>
                      <a:pt x="9" y="522"/>
                    </a:lnTo>
                    <a:lnTo>
                      <a:pt x="7" y="477"/>
                    </a:lnTo>
                    <a:lnTo>
                      <a:pt x="15" y="475"/>
                    </a:lnTo>
                    <a:lnTo>
                      <a:pt x="18" y="463"/>
                    </a:lnTo>
                    <a:lnTo>
                      <a:pt x="19" y="402"/>
                    </a:lnTo>
                    <a:lnTo>
                      <a:pt x="13" y="386"/>
                    </a:lnTo>
                    <a:lnTo>
                      <a:pt x="12" y="363"/>
                    </a:lnTo>
                    <a:lnTo>
                      <a:pt x="8" y="336"/>
                    </a:lnTo>
                    <a:lnTo>
                      <a:pt x="2" y="322"/>
                    </a:lnTo>
                    <a:lnTo>
                      <a:pt x="3" y="310"/>
                    </a:lnTo>
                    <a:lnTo>
                      <a:pt x="14" y="297"/>
                    </a:lnTo>
                    <a:lnTo>
                      <a:pt x="0" y="268"/>
                    </a:lnTo>
                    <a:lnTo>
                      <a:pt x="10" y="251"/>
                    </a:lnTo>
                    <a:lnTo>
                      <a:pt x="17" y="241"/>
                    </a:lnTo>
                    <a:lnTo>
                      <a:pt x="10" y="234"/>
                    </a:lnTo>
                    <a:lnTo>
                      <a:pt x="10" y="212"/>
                    </a:lnTo>
                    <a:lnTo>
                      <a:pt x="19" y="209"/>
                    </a:lnTo>
                    <a:lnTo>
                      <a:pt x="17" y="192"/>
                    </a:lnTo>
                    <a:lnTo>
                      <a:pt x="10" y="190"/>
                    </a:lnTo>
                    <a:lnTo>
                      <a:pt x="9" y="165"/>
                    </a:lnTo>
                    <a:lnTo>
                      <a:pt x="16" y="160"/>
                    </a:lnTo>
                    <a:lnTo>
                      <a:pt x="14" y="147"/>
                    </a:lnTo>
                    <a:lnTo>
                      <a:pt x="11" y="123"/>
                    </a:lnTo>
                    <a:lnTo>
                      <a:pt x="17" y="114"/>
                    </a:lnTo>
                    <a:lnTo>
                      <a:pt x="19" y="100"/>
                    </a:lnTo>
                    <a:lnTo>
                      <a:pt x="28" y="93"/>
                    </a:lnTo>
                    <a:lnTo>
                      <a:pt x="32" y="80"/>
                    </a:lnTo>
                    <a:lnTo>
                      <a:pt x="25" y="69"/>
                    </a:lnTo>
                    <a:lnTo>
                      <a:pt x="33" y="59"/>
                    </a:lnTo>
                    <a:lnTo>
                      <a:pt x="34" y="40"/>
                    </a:lnTo>
                    <a:lnTo>
                      <a:pt x="42" y="37"/>
                    </a:lnTo>
                    <a:lnTo>
                      <a:pt x="44" y="1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" name="Freeform 51">
                <a:extLst>
                  <a:ext uri="{FF2B5EF4-FFF2-40B4-BE49-F238E27FC236}">
                    <a16:creationId xmlns:a16="http://schemas.microsoft.com/office/drawing/2014/main" id="{3C1FD4C8-4269-4FA1-B27A-CFEA042FA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8" y="3398"/>
                <a:ext cx="147" cy="161"/>
              </a:xfrm>
              <a:custGeom>
                <a:avLst/>
                <a:gdLst>
                  <a:gd name="T0" fmla="*/ 23 w 132"/>
                  <a:gd name="T1" fmla="*/ 68 h 142"/>
                  <a:gd name="T2" fmla="*/ 27 w 132"/>
                  <a:gd name="T3" fmla="*/ 75 h 142"/>
                  <a:gd name="T4" fmla="*/ 36 w 132"/>
                  <a:gd name="T5" fmla="*/ 79 h 142"/>
                  <a:gd name="T6" fmla="*/ 44 w 132"/>
                  <a:gd name="T7" fmla="*/ 86 h 142"/>
                  <a:gd name="T8" fmla="*/ 48 w 132"/>
                  <a:gd name="T9" fmla="*/ 95 h 142"/>
                  <a:gd name="T10" fmla="*/ 69 w 132"/>
                  <a:gd name="T11" fmla="*/ 98 h 142"/>
                  <a:gd name="T12" fmla="*/ 74 w 132"/>
                  <a:gd name="T13" fmla="*/ 100 h 142"/>
                  <a:gd name="T14" fmla="*/ 78 w 132"/>
                  <a:gd name="T15" fmla="*/ 106 h 142"/>
                  <a:gd name="T16" fmla="*/ 73 w 132"/>
                  <a:gd name="T17" fmla="*/ 127 h 142"/>
                  <a:gd name="T18" fmla="*/ 69 w 132"/>
                  <a:gd name="T19" fmla="*/ 140 h 142"/>
                  <a:gd name="T20" fmla="*/ 114 w 132"/>
                  <a:gd name="T21" fmla="*/ 141 h 142"/>
                  <a:gd name="T22" fmla="*/ 115 w 132"/>
                  <a:gd name="T23" fmla="*/ 133 h 142"/>
                  <a:gd name="T24" fmla="*/ 124 w 132"/>
                  <a:gd name="T25" fmla="*/ 127 h 142"/>
                  <a:gd name="T26" fmla="*/ 131 w 132"/>
                  <a:gd name="T27" fmla="*/ 116 h 142"/>
                  <a:gd name="T28" fmla="*/ 128 w 132"/>
                  <a:gd name="T29" fmla="*/ 112 h 142"/>
                  <a:gd name="T30" fmla="*/ 126 w 132"/>
                  <a:gd name="T31" fmla="*/ 75 h 142"/>
                  <a:gd name="T32" fmla="*/ 114 w 132"/>
                  <a:gd name="T33" fmla="*/ 74 h 142"/>
                  <a:gd name="T34" fmla="*/ 112 w 132"/>
                  <a:gd name="T35" fmla="*/ 57 h 142"/>
                  <a:gd name="T36" fmla="*/ 99 w 132"/>
                  <a:gd name="T37" fmla="*/ 57 h 142"/>
                  <a:gd name="T38" fmla="*/ 91 w 132"/>
                  <a:gd name="T39" fmla="*/ 53 h 142"/>
                  <a:gd name="T40" fmla="*/ 88 w 132"/>
                  <a:gd name="T41" fmla="*/ 46 h 142"/>
                  <a:gd name="T42" fmla="*/ 74 w 132"/>
                  <a:gd name="T43" fmla="*/ 43 h 142"/>
                  <a:gd name="T44" fmla="*/ 74 w 132"/>
                  <a:gd name="T45" fmla="*/ 31 h 142"/>
                  <a:gd name="T46" fmla="*/ 63 w 132"/>
                  <a:gd name="T47" fmla="*/ 28 h 142"/>
                  <a:gd name="T48" fmla="*/ 62 w 132"/>
                  <a:gd name="T49" fmla="*/ 17 h 142"/>
                  <a:gd name="T50" fmla="*/ 55 w 132"/>
                  <a:gd name="T51" fmla="*/ 6 h 142"/>
                  <a:gd name="T52" fmla="*/ 38 w 132"/>
                  <a:gd name="T53" fmla="*/ 0 h 142"/>
                  <a:gd name="T54" fmla="*/ 27 w 132"/>
                  <a:gd name="T55" fmla="*/ 8 h 142"/>
                  <a:gd name="T56" fmla="*/ 11 w 132"/>
                  <a:gd name="T57" fmla="*/ 15 h 142"/>
                  <a:gd name="T58" fmla="*/ 6 w 132"/>
                  <a:gd name="T59" fmla="*/ 28 h 142"/>
                  <a:gd name="T60" fmla="*/ 0 w 132"/>
                  <a:gd name="T61" fmla="*/ 52 h 142"/>
                  <a:gd name="T62" fmla="*/ 9 w 132"/>
                  <a:gd name="T63" fmla="*/ 62 h 142"/>
                  <a:gd name="T64" fmla="*/ 23 w 132"/>
                  <a:gd name="T65" fmla="*/ 68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2" h="142">
                    <a:moveTo>
                      <a:pt x="23" y="68"/>
                    </a:moveTo>
                    <a:lnTo>
                      <a:pt x="27" y="75"/>
                    </a:lnTo>
                    <a:lnTo>
                      <a:pt x="36" y="79"/>
                    </a:lnTo>
                    <a:lnTo>
                      <a:pt x="44" y="86"/>
                    </a:lnTo>
                    <a:lnTo>
                      <a:pt x="48" y="95"/>
                    </a:lnTo>
                    <a:lnTo>
                      <a:pt x="69" y="98"/>
                    </a:lnTo>
                    <a:lnTo>
                      <a:pt x="74" y="100"/>
                    </a:lnTo>
                    <a:lnTo>
                      <a:pt x="78" y="106"/>
                    </a:lnTo>
                    <a:lnTo>
                      <a:pt x="73" y="127"/>
                    </a:lnTo>
                    <a:lnTo>
                      <a:pt x="69" y="140"/>
                    </a:lnTo>
                    <a:lnTo>
                      <a:pt x="114" y="141"/>
                    </a:lnTo>
                    <a:lnTo>
                      <a:pt x="115" y="133"/>
                    </a:lnTo>
                    <a:lnTo>
                      <a:pt x="124" y="127"/>
                    </a:lnTo>
                    <a:lnTo>
                      <a:pt x="131" y="116"/>
                    </a:lnTo>
                    <a:lnTo>
                      <a:pt x="128" y="112"/>
                    </a:lnTo>
                    <a:lnTo>
                      <a:pt x="126" y="75"/>
                    </a:lnTo>
                    <a:lnTo>
                      <a:pt x="114" y="74"/>
                    </a:lnTo>
                    <a:lnTo>
                      <a:pt x="112" y="57"/>
                    </a:lnTo>
                    <a:lnTo>
                      <a:pt x="99" y="57"/>
                    </a:lnTo>
                    <a:lnTo>
                      <a:pt x="91" y="53"/>
                    </a:lnTo>
                    <a:lnTo>
                      <a:pt x="88" y="46"/>
                    </a:lnTo>
                    <a:lnTo>
                      <a:pt x="74" y="43"/>
                    </a:lnTo>
                    <a:lnTo>
                      <a:pt x="74" y="31"/>
                    </a:lnTo>
                    <a:lnTo>
                      <a:pt x="63" y="28"/>
                    </a:lnTo>
                    <a:lnTo>
                      <a:pt x="62" y="17"/>
                    </a:lnTo>
                    <a:lnTo>
                      <a:pt x="55" y="6"/>
                    </a:lnTo>
                    <a:lnTo>
                      <a:pt x="38" y="0"/>
                    </a:lnTo>
                    <a:lnTo>
                      <a:pt x="27" y="8"/>
                    </a:lnTo>
                    <a:lnTo>
                      <a:pt x="11" y="15"/>
                    </a:lnTo>
                    <a:lnTo>
                      <a:pt x="6" y="28"/>
                    </a:lnTo>
                    <a:lnTo>
                      <a:pt x="0" y="52"/>
                    </a:lnTo>
                    <a:lnTo>
                      <a:pt x="9" y="62"/>
                    </a:lnTo>
                    <a:lnTo>
                      <a:pt x="23" y="68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" name="Freeform 52">
                <a:extLst>
                  <a:ext uri="{FF2B5EF4-FFF2-40B4-BE49-F238E27FC236}">
                    <a16:creationId xmlns:a16="http://schemas.microsoft.com/office/drawing/2014/main" id="{306DD9C7-299B-42C5-8FDE-751992CA9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9" y="2694"/>
                <a:ext cx="39" cy="21"/>
              </a:xfrm>
              <a:custGeom>
                <a:avLst/>
                <a:gdLst>
                  <a:gd name="T0" fmla="*/ 8 w 34"/>
                  <a:gd name="T1" fmla="*/ 0 h 18"/>
                  <a:gd name="T2" fmla="*/ 19 w 34"/>
                  <a:gd name="T3" fmla="*/ 0 h 18"/>
                  <a:gd name="T4" fmla="*/ 33 w 34"/>
                  <a:gd name="T5" fmla="*/ 6 h 18"/>
                  <a:gd name="T6" fmla="*/ 29 w 34"/>
                  <a:gd name="T7" fmla="*/ 16 h 18"/>
                  <a:gd name="T8" fmla="*/ 11 w 34"/>
                  <a:gd name="T9" fmla="*/ 17 h 18"/>
                  <a:gd name="T10" fmla="*/ 0 w 34"/>
                  <a:gd name="T11" fmla="*/ 9 h 18"/>
                  <a:gd name="T12" fmla="*/ 8 w 34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8" y="0"/>
                    </a:moveTo>
                    <a:lnTo>
                      <a:pt x="19" y="0"/>
                    </a:lnTo>
                    <a:lnTo>
                      <a:pt x="33" y="6"/>
                    </a:lnTo>
                    <a:lnTo>
                      <a:pt x="29" y="16"/>
                    </a:lnTo>
                    <a:lnTo>
                      <a:pt x="11" y="17"/>
                    </a:lnTo>
                    <a:lnTo>
                      <a:pt x="0" y="9"/>
                    </a:lnTo>
                    <a:lnTo>
                      <a:pt x="8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" name="Freeform 53">
                <a:extLst>
                  <a:ext uri="{FF2B5EF4-FFF2-40B4-BE49-F238E27FC236}">
                    <a16:creationId xmlns:a16="http://schemas.microsoft.com/office/drawing/2014/main" id="{36C03E0F-D959-40A6-87AC-E2C0923746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2" y="2667"/>
                <a:ext cx="65" cy="45"/>
              </a:xfrm>
              <a:custGeom>
                <a:avLst/>
                <a:gdLst>
                  <a:gd name="T0" fmla="*/ 0 w 57"/>
                  <a:gd name="T1" fmla="*/ 40 h 41"/>
                  <a:gd name="T2" fmla="*/ 5 w 57"/>
                  <a:gd name="T3" fmla="*/ 29 h 41"/>
                  <a:gd name="T4" fmla="*/ 5 w 57"/>
                  <a:gd name="T5" fmla="*/ 8 h 41"/>
                  <a:gd name="T6" fmla="*/ 5 w 57"/>
                  <a:gd name="T7" fmla="*/ 0 h 41"/>
                  <a:gd name="T8" fmla="*/ 18 w 57"/>
                  <a:gd name="T9" fmla="*/ 2 h 41"/>
                  <a:gd name="T10" fmla="*/ 23 w 57"/>
                  <a:gd name="T11" fmla="*/ 9 h 41"/>
                  <a:gd name="T12" fmla="*/ 29 w 57"/>
                  <a:gd name="T13" fmla="*/ 11 h 41"/>
                  <a:gd name="T14" fmla="*/ 36 w 57"/>
                  <a:gd name="T15" fmla="*/ 11 h 41"/>
                  <a:gd name="T16" fmla="*/ 39 w 57"/>
                  <a:gd name="T17" fmla="*/ 20 h 41"/>
                  <a:gd name="T18" fmla="*/ 47 w 57"/>
                  <a:gd name="T19" fmla="*/ 24 h 41"/>
                  <a:gd name="T20" fmla="*/ 56 w 57"/>
                  <a:gd name="T21" fmla="*/ 31 h 41"/>
                  <a:gd name="T22" fmla="*/ 53 w 57"/>
                  <a:gd name="T23" fmla="*/ 37 h 41"/>
                  <a:gd name="T24" fmla="*/ 40 w 57"/>
                  <a:gd name="T25" fmla="*/ 38 h 41"/>
                  <a:gd name="T26" fmla="*/ 18 w 57"/>
                  <a:gd name="T27" fmla="*/ 37 h 41"/>
                  <a:gd name="T28" fmla="*/ 0 w 57"/>
                  <a:gd name="T29" fmla="*/ 4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7" h="41">
                    <a:moveTo>
                      <a:pt x="0" y="40"/>
                    </a:moveTo>
                    <a:lnTo>
                      <a:pt x="5" y="29"/>
                    </a:lnTo>
                    <a:lnTo>
                      <a:pt x="5" y="8"/>
                    </a:lnTo>
                    <a:lnTo>
                      <a:pt x="5" y="0"/>
                    </a:lnTo>
                    <a:lnTo>
                      <a:pt x="18" y="2"/>
                    </a:lnTo>
                    <a:lnTo>
                      <a:pt x="23" y="9"/>
                    </a:lnTo>
                    <a:lnTo>
                      <a:pt x="29" y="11"/>
                    </a:lnTo>
                    <a:lnTo>
                      <a:pt x="36" y="11"/>
                    </a:lnTo>
                    <a:lnTo>
                      <a:pt x="39" y="20"/>
                    </a:lnTo>
                    <a:lnTo>
                      <a:pt x="47" y="24"/>
                    </a:lnTo>
                    <a:lnTo>
                      <a:pt x="56" y="31"/>
                    </a:lnTo>
                    <a:lnTo>
                      <a:pt x="53" y="37"/>
                    </a:lnTo>
                    <a:lnTo>
                      <a:pt x="40" y="38"/>
                    </a:lnTo>
                    <a:lnTo>
                      <a:pt x="18" y="37"/>
                    </a:lnTo>
                    <a:lnTo>
                      <a:pt x="0" y="4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6A51E64-3026-4269-8F06-18BAD1F857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8" y="2697"/>
                <a:ext cx="26" cy="18"/>
              </a:xfrm>
              <a:custGeom>
                <a:avLst/>
                <a:gdLst>
                  <a:gd name="T0" fmla="*/ 8 w 23"/>
                  <a:gd name="T1" fmla="*/ 2 h 16"/>
                  <a:gd name="T2" fmla="*/ 0 w 23"/>
                  <a:gd name="T3" fmla="*/ 7 h 16"/>
                  <a:gd name="T4" fmla="*/ 6 w 23"/>
                  <a:gd name="T5" fmla="*/ 11 h 16"/>
                  <a:gd name="T6" fmla="*/ 14 w 23"/>
                  <a:gd name="T7" fmla="*/ 15 h 16"/>
                  <a:gd name="T8" fmla="*/ 22 w 23"/>
                  <a:gd name="T9" fmla="*/ 11 h 16"/>
                  <a:gd name="T10" fmla="*/ 22 w 23"/>
                  <a:gd name="T11" fmla="*/ 0 h 16"/>
                  <a:gd name="T12" fmla="*/ 8 w 23"/>
                  <a:gd name="T1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16">
                    <a:moveTo>
                      <a:pt x="8" y="2"/>
                    </a:moveTo>
                    <a:lnTo>
                      <a:pt x="0" y="7"/>
                    </a:lnTo>
                    <a:lnTo>
                      <a:pt x="6" y="11"/>
                    </a:lnTo>
                    <a:lnTo>
                      <a:pt x="14" y="15"/>
                    </a:lnTo>
                    <a:lnTo>
                      <a:pt x="22" y="11"/>
                    </a:lnTo>
                    <a:lnTo>
                      <a:pt x="22" y="0"/>
                    </a:lnTo>
                    <a:lnTo>
                      <a:pt x="8" y="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953464D0-976B-4147-9E02-89DDE4CD6C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3" y="2715"/>
                <a:ext cx="56" cy="71"/>
              </a:xfrm>
              <a:custGeom>
                <a:avLst/>
                <a:gdLst>
                  <a:gd name="T0" fmla="*/ 0 w 50"/>
                  <a:gd name="T1" fmla="*/ 49 h 63"/>
                  <a:gd name="T2" fmla="*/ 6 w 50"/>
                  <a:gd name="T3" fmla="*/ 31 h 63"/>
                  <a:gd name="T4" fmla="*/ 19 w 50"/>
                  <a:gd name="T5" fmla="*/ 28 h 63"/>
                  <a:gd name="T6" fmla="*/ 21 w 50"/>
                  <a:gd name="T7" fmla="*/ 9 h 63"/>
                  <a:gd name="T8" fmla="*/ 43 w 50"/>
                  <a:gd name="T9" fmla="*/ 0 h 63"/>
                  <a:gd name="T10" fmla="*/ 41 w 50"/>
                  <a:gd name="T11" fmla="*/ 20 h 63"/>
                  <a:gd name="T12" fmla="*/ 41 w 50"/>
                  <a:gd name="T13" fmla="*/ 34 h 63"/>
                  <a:gd name="T14" fmla="*/ 49 w 50"/>
                  <a:gd name="T15" fmla="*/ 35 h 63"/>
                  <a:gd name="T16" fmla="*/ 47 w 50"/>
                  <a:gd name="T17" fmla="*/ 48 h 63"/>
                  <a:gd name="T18" fmla="*/ 37 w 50"/>
                  <a:gd name="T19" fmla="*/ 48 h 63"/>
                  <a:gd name="T20" fmla="*/ 34 w 50"/>
                  <a:gd name="T21" fmla="*/ 62 h 63"/>
                  <a:gd name="T22" fmla="*/ 14 w 50"/>
                  <a:gd name="T23" fmla="*/ 61 h 63"/>
                  <a:gd name="T24" fmla="*/ 0 w 50"/>
                  <a:gd name="T25" fmla="*/ 49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63">
                    <a:moveTo>
                      <a:pt x="0" y="49"/>
                    </a:moveTo>
                    <a:lnTo>
                      <a:pt x="6" y="31"/>
                    </a:lnTo>
                    <a:lnTo>
                      <a:pt x="19" y="28"/>
                    </a:lnTo>
                    <a:lnTo>
                      <a:pt x="21" y="9"/>
                    </a:lnTo>
                    <a:lnTo>
                      <a:pt x="43" y="0"/>
                    </a:lnTo>
                    <a:lnTo>
                      <a:pt x="41" y="20"/>
                    </a:lnTo>
                    <a:lnTo>
                      <a:pt x="41" y="34"/>
                    </a:lnTo>
                    <a:lnTo>
                      <a:pt x="49" y="35"/>
                    </a:lnTo>
                    <a:lnTo>
                      <a:pt x="47" y="48"/>
                    </a:lnTo>
                    <a:lnTo>
                      <a:pt x="37" y="48"/>
                    </a:lnTo>
                    <a:lnTo>
                      <a:pt x="34" y="62"/>
                    </a:lnTo>
                    <a:lnTo>
                      <a:pt x="14" y="61"/>
                    </a:lnTo>
                    <a:lnTo>
                      <a:pt x="0" y="4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9" name="Freeform 56">
                <a:extLst>
                  <a:ext uri="{FF2B5EF4-FFF2-40B4-BE49-F238E27FC236}">
                    <a16:creationId xmlns:a16="http://schemas.microsoft.com/office/drawing/2014/main" id="{7FA83294-3558-45E1-AA43-438D2A452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" y="3076"/>
                <a:ext cx="207" cy="307"/>
              </a:xfrm>
              <a:custGeom>
                <a:avLst/>
                <a:gdLst>
                  <a:gd name="T0" fmla="*/ 149 w 185"/>
                  <a:gd name="T1" fmla="*/ 12 h 274"/>
                  <a:gd name="T2" fmla="*/ 136 w 185"/>
                  <a:gd name="T3" fmla="*/ 3 h 274"/>
                  <a:gd name="T4" fmla="*/ 111 w 185"/>
                  <a:gd name="T5" fmla="*/ 0 h 274"/>
                  <a:gd name="T6" fmla="*/ 103 w 185"/>
                  <a:gd name="T7" fmla="*/ 10 h 274"/>
                  <a:gd name="T8" fmla="*/ 62 w 185"/>
                  <a:gd name="T9" fmla="*/ 29 h 274"/>
                  <a:gd name="T10" fmla="*/ 42 w 185"/>
                  <a:gd name="T11" fmla="*/ 43 h 274"/>
                  <a:gd name="T12" fmla="*/ 28 w 185"/>
                  <a:gd name="T13" fmla="*/ 54 h 274"/>
                  <a:gd name="T14" fmla="*/ 17 w 185"/>
                  <a:gd name="T15" fmla="*/ 43 h 274"/>
                  <a:gd name="T16" fmla="*/ 14 w 185"/>
                  <a:gd name="T17" fmla="*/ 31 h 274"/>
                  <a:gd name="T18" fmla="*/ 6 w 185"/>
                  <a:gd name="T19" fmla="*/ 31 h 274"/>
                  <a:gd name="T20" fmla="*/ 0 w 185"/>
                  <a:gd name="T21" fmla="*/ 37 h 274"/>
                  <a:gd name="T22" fmla="*/ 0 w 185"/>
                  <a:gd name="T23" fmla="*/ 71 h 274"/>
                  <a:gd name="T24" fmla="*/ 15 w 185"/>
                  <a:gd name="T25" fmla="*/ 71 h 274"/>
                  <a:gd name="T26" fmla="*/ 21 w 185"/>
                  <a:gd name="T27" fmla="*/ 94 h 274"/>
                  <a:gd name="T28" fmla="*/ 29 w 185"/>
                  <a:gd name="T29" fmla="*/ 100 h 274"/>
                  <a:gd name="T30" fmla="*/ 31 w 185"/>
                  <a:gd name="T31" fmla="*/ 114 h 274"/>
                  <a:gd name="T32" fmla="*/ 36 w 185"/>
                  <a:gd name="T33" fmla="*/ 127 h 274"/>
                  <a:gd name="T34" fmla="*/ 45 w 185"/>
                  <a:gd name="T35" fmla="*/ 132 h 274"/>
                  <a:gd name="T36" fmla="*/ 47 w 185"/>
                  <a:gd name="T37" fmla="*/ 147 h 274"/>
                  <a:gd name="T38" fmla="*/ 51 w 185"/>
                  <a:gd name="T39" fmla="*/ 151 h 274"/>
                  <a:gd name="T40" fmla="*/ 57 w 185"/>
                  <a:gd name="T41" fmla="*/ 159 h 274"/>
                  <a:gd name="T42" fmla="*/ 61 w 185"/>
                  <a:gd name="T43" fmla="*/ 173 h 274"/>
                  <a:gd name="T44" fmla="*/ 68 w 185"/>
                  <a:gd name="T45" fmla="*/ 187 h 274"/>
                  <a:gd name="T46" fmla="*/ 75 w 185"/>
                  <a:gd name="T47" fmla="*/ 193 h 274"/>
                  <a:gd name="T48" fmla="*/ 71 w 185"/>
                  <a:gd name="T49" fmla="*/ 199 h 274"/>
                  <a:gd name="T50" fmla="*/ 76 w 185"/>
                  <a:gd name="T51" fmla="*/ 212 h 274"/>
                  <a:gd name="T52" fmla="*/ 91 w 185"/>
                  <a:gd name="T53" fmla="*/ 221 h 274"/>
                  <a:gd name="T54" fmla="*/ 105 w 185"/>
                  <a:gd name="T55" fmla="*/ 239 h 274"/>
                  <a:gd name="T56" fmla="*/ 127 w 185"/>
                  <a:gd name="T57" fmla="*/ 247 h 274"/>
                  <a:gd name="T58" fmla="*/ 147 w 185"/>
                  <a:gd name="T59" fmla="*/ 263 h 274"/>
                  <a:gd name="T60" fmla="*/ 159 w 185"/>
                  <a:gd name="T61" fmla="*/ 273 h 274"/>
                  <a:gd name="T62" fmla="*/ 170 w 185"/>
                  <a:gd name="T63" fmla="*/ 263 h 274"/>
                  <a:gd name="T64" fmla="*/ 174 w 185"/>
                  <a:gd name="T65" fmla="*/ 251 h 274"/>
                  <a:gd name="T66" fmla="*/ 179 w 185"/>
                  <a:gd name="T67" fmla="*/ 249 h 274"/>
                  <a:gd name="T68" fmla="*/ 174 w 185"/>
                  <a:gd name="T69" fmla="*/ 241 h 274"/>
                  <a:gd name="T70" fmla="*/ 176 w 185"/>
                  <a:gd name="T71" fmla="*/ 215 h 274"/>
                  <a:gd name="T72" fmla="*/ 176 w 185"/>
                  <a:gd name="T73" fmla="*/ 196 h 274"/>
                  <a:gd name="T74" fmla="*/ 182 w 185"/>
                  <a:gd name="T75" fmla="*/ 190 h 274"/>
                  <a:gd name="T76" fmla="*/ 184 w 185"/>
                  <a:gd name="T77" fmla="*/ 175 h 274"/>
                  <a:gd name="T78" fmla="*/ 173 w 185"/>
                  <a:gd name="T79" fmla="*/ 158 h 274"/>
                  <a:gd name="T80" fmla="*/ 160 w 185"/>
                  <a:gd name="T81" fmla="*/ 151 h 274"/>
                  <a:gd name="T82" fmla="*/ 155 w 185"/>
                  <a:gd name="T83" fmla="*/ 134 h 274"/>
                  <a:gd name="T84" fmla="*/ 143 w 185"/>
                  <a:gd name="T85" fmla="*/ 140 h 274"/>
                  <a:gd name="T86" fmla="*/ 131 w 185"/>
                  <a:gd name="T87" fmla="*/ 138 h 274"/>
                  <a:gd name="T88" fmla="*/ 129 w 185"/>
                  <a:gd name="T89" fmla="*/ 129 h 274"/>
                  <a:gd name="T90" fmla="*/ 119 w 185"/>
                  <a:gd name="T91" fmla="*/ 128 h 274"/>
                  <a:gd name="T92" fmla="*/ 115 w 185"/>
                  <a:gd name="T93" fmla="*/ 118 h 274"/>
                  <a:gd name="T94" fmla="*/ 105 w 185"/>
                  <a:gd name="T95" fmla="*/ 110 h 274"/>
                  <a:gd name="T96" fmla="*/ 102 w 185"/>
                  <a:gd name="T97" fmla="*/ 100 h 274"/>
                  <a:gd name="T98" fmla="*/ 104 w 185"/>
                  <a:gd name="T99" fmla="*/ 87 h 274"/>
                  <a:gd name="T100" fmla="*/ 113 w 185"/>
                  <a:gd name="T101" fmla="*/ 82 h 274"/>
                  <a:gd name="T102" fmla="*/ 120 w 185"/>
                  <a:gd name="T103" fmla="*/ 77 h 274"/>
                  <a:gd name="T104" fmla="*/ 116 w 185"/>
                  <a:gd name="T105" fmla="*/ 67 h 274"/>
                  <a:gd name="T106" fmla="*/ 120 w 185"/>
                  <a:gd name="T107" fmla="*/ 54 h 274"/>
                  <a:gd name="T108" fmla="*/ 131 w 185"/>
                  <a:gd name="T109" fmla="*/ 47 h 274"/>
                  <a:gd name="T110" fmla="*/ 143 w 185"/>
                  <a:gd name="T111" fmla="*/ 50 h 274"/>
                  <a:gd name="T112" fmla="*/ 155 w 185"/>
                  <a:gd name="T113" fmla="*/ 44 h 274"/>
                  <a:gd name="T114" fmla="*/ 159 w 185"/>
                  <a:gd name="T115" fmla="*/ 31 h 274"/>
                  <a:gd name="T116" fmla="*/ 149 w 185"/>
                  <a:gd name="T117" fmla="*/ 12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5" h="274">
                    <a:moveTo>
                      <a:pt x="149" y="12"/>
                    </a:moveTo>
                    <a:lnTo>
                      <a:pt x="136" y="3"/>
                    </a:lnTo>
                    <a:lnTo>
                      <a:pt x="111" y="0"/>
                    </a:lnTo>
                    <a:lnTo>
                      <a:pt x="103" y="10"/>
                    </a:lnTo>
                    <a:lnTo>
                      <a:pt x="62" y="29"/>
                    </a:lnTo>
                    <a:lnTo>
                      <a:pt x="42" y="43"/>
                    </a:lnTo>
                    <a:lnTo>
                      <a:pt x="28" y="54"/>
                    </a:lnTo>
                    <a:lnTo>
                      <a:pt x="17" y="43"/>
                    </a:lnTo>
                    <a:lnTo>
                      <a:pt x="14" y="31"/>
                    </a:lnTo>
                    <a:lnTo>
                      <a:pt x="6" y="31"/>
                    </a:lnTo>
                    <a:lnTo>
                      <a:pt x="0" y="37"/>
                    </a:lnTo>
                    <a:lnTo>
                      <a:pt x="0" y="71"/>
                    </a:lnTo>
                    <a:lnTo>
                      <a:pt x="15" y="71"/>
                    </a:lnTo>
                    <a:lnTo>
                      <a:pt x="21" y="94"/>
                    </a:lnTo>
                    <a:lnTo>
                      <a:pt x="29" y="100"/>
                    </a:lnTo>
                    <a:lnTo>
                      <a:pt x="31" y="114"/>
                    </a:lnTo>
                    <a:lnTo>
                      <a:pt x="36" y="127"/>
                    </a:lnTo>
                    <a:lnTo>
                      <a:pt x="45" y="132"/>
                    </a:lnTo>
                    <a:lnTo>
                      <a:pt x="47" y="147"/>
                    </a:lnTo>
                    <a:lnTo>
                      <a:pt x="51" y="151"/>
                    </a:lnTo>
                    <a:lnTo>
                      <a:pt x="57" y="159"/>
                    </a:lnTo>
                    <a:lnTo>
                      <a:pt x="61" y="173"/>
                    </a:lnTo>
                    <a:lnTo>
                      <a:pt x="68" y="187"/>
                    </a:lnTo>
                    <a:lnTo>
                      <a:pt x="75" y="193"/>
                    </a:lnTo>
                    <a:lnTo>
                      <a:pt x="71" y="199"/>
                    </a:lnTo>
                    <a:lnTo>
                      <a:pt x="76" y="212"/>
                    </a:lnTo>
                    <a:lnTo>
                      <a:pt x="91" y="221"/>
                    </a:lnTo>
                    <a:lnTo>
                      <a:pt x="105" y="239"/>
                    </a:lnTo>
                    <a:lnTo>
                      <a:pt x="127" y="247"/>
                    </a:lnTo>
                    <a:lnTo>
                      <a:pt x="147" y="263"/>
                    </a:lnTo>
                    <a:lnTo>
                      <a:pt x="159" y="273"/>
                    </a:lnTo>
                    <a:lnTo>
                      <a:pt x="170" y="263"/>
                    </a:lnTo>
                    <a:lnTo>
                      <a:pt x="174" y="251"/>
                    </a:lnTo>
                    <a:lnTo>
                      <a:pt x="179" y="249"/>
                    </a:lnTo>
                    <a:lnTo>
                      <a:pt x="174" y="241"/>
                    </a:lnTo>
                    <a:lnTo>
                      <a:pt x="176" y="215"/>
                    </a:lnTo>
                    <a:lnTo>
                      <a:pt x="176" y="196"/>
                    </a:lnTo>
                    <a:lnTo>
                      <a:pt x="182" y="190"/>
                    </a:lnTo>
                    <a:lnTo>
                      <a:pt x="184" y="175"/>
                    </a:lnTo>
                    <a:lnTo>
                      <a:pt x="173" y="158"/>
                    </a:lnTo>
                    <a:lnTo>
                      <a:pt x="160" y="151"/>
                    </a:lnTo>
                    <a:lnTo>
                      <a:pt x="155" y="134"/>
                    </a:lnTo>
                    <a:lnTo>
                      <a:pt x="143" y="140"/>
                    </a:lnTo>
                    <a:lnTo>
                      <a:pt x="131" y="138"/>
                    </a:lnTo>
                    <a:lnTo>
                      <a:pt x="129" y="129"/>
                    </a:lnTo>
                    <a:lnTo>
                      <a:pt x="119" y="128"/>
                    </a:lnTo>
                    <a:lnTo>
                      <a:pt x="115" y="118"/>
                    </a:lnTo>
                    <a:lnTo>
                      <a:pt x="105" y="110"/>
                    </a:lnTo>
                    <a:lnTo>
                      <a:pt x="102" y="100"/>
                    </a:lnTo>
                    <a:lnTo>
                      <a:pt x="104" y="87"/>
                    </a:lnTo>
                    <a:lnTo>
                      <a:pt x="113" y="82"/>
                    </a:lnTo>
                    <a:lnTo>
                      <a:pt x="120" y="77"/>
                    </a:lnTo>
                    <a:lnTo>
                      <a:pt x="116" y="67"/>
                    </a:lnTo>
                    <a:lnTo>
                      <a:pt x="120" y="54"/>
                    </a:lnTo>
                    <a:lnTo>
                      <a:pt x="131" y="47"/>
                    </a:lnTo>
                    <a:lnTo>
                      <a:pt x="143" y="50"/>
                    </a:lnTo>
                    <a:lnTo>
                      <a:pt x="155" y="44"/>
                    </a:lnTo>
                    <a:lnTo>
                      <a:pt x="159" y="31"/>
                    </a:lnTo>
                    <a:lnTo>
                      <a:pt x="149" y="1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0" name="Freeform 57">
                <a:extLst>
                  <a:ext uri="{FF2B5EF4-FFF2-40B4-BE49-F238E27FC236}">
                    <a16:creationId xmlns:a16="http://schemas.microsoft.com/office/drawing/2014/main" id="{263555CA-29A2-4883-9D48-68A2F3D41A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6" y="2814"/>
                <a:ext cx="185" cy="277"/>
              </a:xfrm>
              <a:custGeom>
                <a:avLst/>
                <a:gdLst>
                  <a:gd name="T0" fmla="*/ 23 w 166"/>
                  <a:gd name="T1" fmla="*/ 95 h 248"/>
                  <a:gd name="T2" fmla="*/ 26 w 166"/>
                  <a:gd name="T3" fmla="*/ 63 h 248"/>
                  <a:gd name="T4" fmla="*/ 40 w 166"/>
                  <a:gd name="T5" fmla="*/ 76 h 248"/>
                  <a:gd name="T6" fmla="*/ 41 w 166"/>
                  <a:gd name="T7" fmla="*/ 53 h 248"/>
                  <a:gd name="T8" fmla="*/ 57 w 166"/>
                  <a:gd name="T9" fmla="*/ 48 h 248"/>
                  <a:gd name="T10" fmla="*/ 58 w 166"/>
                  <a:gd name="T11" fmla="*/ 31 h 248"/>
                  <a:gd name="T12" fmla="*/ 74 w 166"/>
                  <a:gd name="T13" fmla="*/ 20 h 248"/>
                  <a:gd name="T14" fmla="*/ 91 w 166"/>
                  <a:gd name="T15" fmla="*/ 18 h 248"/>
                  <a:gd name="T16" fmla="*/ 96 w 166"/>
                  <a:gd name="T17" fmla="*/ 6 h 248"/>
                  <a:gd name="T18" fmla="*/ 106 w 166"/>
                  <a:gd name="T19" fmla="*/ 0 h 248"/>
                  <a:gd name="T20" fmla="*/ 113 w 166"/>
                  <a:gd name="T21" fmla="*/ 6 h 248"/>
                  <a:gd name="T22" fmla="*/ 102 w 166"/>
                  <a:gd name="T23" fmla="*/ 20 h 248"/>
                  <a:gd name="T24" fmla="*/ 96 w 166"/>
                  <a:gd name="T25" fmla="*/ 42 h 248"/>
                  <a:gd name="T26" fmla="*/ 85 w 166"/>
                  <a:gd name="T27" fmla="*/ 49 h 248"/>
                  <a:gd name="T28" fmla="*/ 98 w 166"/>
                  <a:gd name="T29" fmla="*/ 67 h 248"/>
                  <a:gd name="T30" fmla="*/ 95 w 166"/>
                  <a:gd name="T31" fmla="*/ 84 h 248"/>
                  <a:gd name="T32" fmla="*/ 121 w 166"/>
                  <a:gd name="T33" fmla="*/ 86 h 248"/>
                  <a:gd name="T34" fmla="*/ 121 w 166"/>
                  <a:gd name="T35" fmla="*/ 95 h 248"/>
                  <a:gd name="T36" fmla="*/ 143 w 166"/>
                  <a:gd name="T37" fmla="*/ 105 h 248"/>
                  <a:gd name="T38" fmla="*/ 165 w 166"/>
                  <a:gd name="T39" fmla="*/ 113 h 248"/>
                  <a:gd name="T40" fmla="*/ 165 w 166"/>
                  <a:gd name="T41" fmla="*/ 141 h 248"/>
                  <a:gd name="T42" fmla="*/ 161 w 166"/>
                  <a:gd name="T43" fmla="*/ 160 h 248"/>
                  <a:gd name="T44" fmla="*/ 162 w 166"/>
                  <a:gd name="T45" fmla="*/ 173 h 248"/>
                  <a:gd name="T46" fmla="*/ 138 w 166"/>
                  <a:gd name="T47" fmla="*/ 182 h 248"/>
                  <a:gd name="T48" fmla="*/ 132 w 166"/>
                  <a:gd name="T49" fmla="*/ 192 h 248"/>
                  <a:gd name="T50" fmla="*/ 140 w 166"/>
                  <a:gd name="T51" fmla="*/ 199 h 248"/>
                  <a:gd name="T52" fmla="*/ 132 w 166"/>
                  <a:gd name="T53" fmla="*/ 204 h 248"/>
                  <a:gd name="T54" fmla="*/ 135 w 166"/>
                  <a:gd name="T55" fmla="*/ 233 h 248"/>
                  <a:gd name="T56" fmla="*/ 135 w 166"/>
                  <a:gd name="T57" fmla="*/ 245 h 248"/>
                  <a:gd name="T58" fmla="*/ 121 w 166"/>
                  <a:gd name="T59" fmla="*/ 247 h 248"/>
                  <a:gd name="T60" fmla="*/ 107 w 166"/>
                  <a:gd name="T61" fmla="*/ 238 h 248"/>
                  <a:gd name="T62" fmla="*/ 83 w 166"/>
                  <a:gd name="T63" fmla="*/ 235 h 248"/>
                  <a:gd name="T64" fmla="*/ 70 w 166"/>
                  <a:gd name="T65" fmla="*/ 219 h 248"/>
                  <a:gd name="T66" fmla="*/ 55 w 166"/>
                  <a:gd name="T67" fmla="*/ 209 h 248"/>
                  <a:gd name="T68" fmla="*/ 44 w 166"/>
                  <a:gd name="T69" fmla="*/ 199 h 248"/>
                  <a:gd name="T70" fmla="*/ 21 w 166"/>
                  <a:gd name="T71" fmla="*/ 200 h 248"/>
                  <a:gd name="T72" fmla="*/ 0 w 166"/>
                  <a:gd name="T73" fmla="*/ 188 h 248"/>
                  <a:gd name="T74" fmla="*/ 11 w 166"/>
                  <a:gd name="T75" fmla="*/ 171 h 248"/>
                  <a:gd name="T76" fmla="*/ 14 w 166"/>
                  <a:gd name="T77" fmla="*/ 163 h 248"/>
                  <a:gd name="T78" fmla="*/ 27 w 166"/>
                  <a:gd name="T79" fmla="*/ 161 h 248"/>
                  <a:gd name="T80" fmla="*/ 23 w 166"/>
                  <a:gd name="T81" fmla="*/ 95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6" h="248">
                    <a:moveTo>
                      <a:pt x="23" y="95"/>
                    </a:moveTo>
                    <a:lnTo>
                      <a:pt x="26" y="63"/>
                    </a:lnTo>
                    <a:lnTo>
                      <a:pt x="40" y="76"/>
                    </a:lnTo>
                    <a:lnTo>
                      <a:pt x="41" y="53"/>
                    </a:lnTo>
                    <a:lnTo>
                      <a:pt x="57" y="48"/>
                    </a:lnTo>
                    <a:lnTo>
                      <a:pt x="58" y="31"/>
                    </a:lnTo>
                    <a:lnTo>
                      <a:pt x="74" y="20"/>
                    </a:lnTo>
                    <a:lnTo>
                      <a:pt x="91" y="18"/>
                    </a:lnTo>
                    <a:lnTo>
                      <a:pt x="96" y="6"/>
                    </a:lnTo>
                    <a:lnTo>
                      <a:pt x="106" y="0"/>
                    </a:lnTo>
                    <a:lnTo>
                      <a:pt x="113" y="6"/>
                    </a:lnTo>
                    <a:lnTo>
                      <a:pt x="102" y="20"/>
                    </a:lnTo>
                    <a:lnTo>
                      <a:pt x="96" y="42"/>
                    </a:lnTo>
                    <a:lnTo>
                      <a:pt x="85" y="49"/>
                    </a:lnTo>
                    <a:lnTo>
                      <a:pt x="98" y="67"/>
                    </a:lnTo>
                    <a:lnTo>
                      <a:pt x="95" y="84"/>
                    </a:lnTo>
                    <a:lnTo>
                      <a:pt x="121" y="86"/>
                    </a:lnTo>
                    <a:lnTo>
                      <a:pt x="121" y="95"/>
                    </a:lnTo>
                    <a:lnTo>
                      <a:pt x="143" y="105"/>
                    </a:lnTo>
                    <a:lnTo>
                      <a:pt x="165" y="113"/>
                    </a:lnTo>
                    <a:lnTo>
                      <a:pt x="165" y="141"/>
                    </a:lnTo>
                    <a:lnTo>
                      <a:pt x="161" y="160"/>
                    </a:lnTo>
                    <a:lnTo>
                      <a:pt x="162" y="173"/>
                    </a:lnTo>
                    <a:lnTo>
                      <a:pt x="138" y="182"/>
                    </a:lnTo>
                    <a:lnTo>
                      <a:pt x="132" y="192"/>
                    </a:lnTo>
                    <a:lnTo>
                      <a:pt x="140" y="199"/>
                    </a:lnTo>
                    <a:lnTo>
                      <a:pt x="132" y="204"/>
                    </a:lnTo>
                    <a:lnTo>
                      <a:pt x="135" y="233"/>
                    </a:lnTo>
                    <a:lnTo>
                      <a:pt x="135" y="245"/>
                    </a:lnTo>
                    <a:lnTo>
                      <a:pt x="121" y="247"/>
                    </a:lnTo>
                    <a:lnTo>
                      <a:pt x="107" y="238"/>
                    </a:lnTo>
                    <a:lnTo>
                      <a:pt x="83" y="235"/>
                    </a:lnTo>
                    <a:lnTo>
                      <a:pt x="70" y="219"/>
                    </a:lnTo>
                    <a:lnTo>
                      <a:pt x="55" y="209"/>
                    </a:lnTo>
                    <a:lnTo>
                      <a:pt x="44" y="199"/>
                    </a:lnTo>
                    <a:lnTo>
                      <a:pt x="21" y="200"/>
                    </a:lnTo>
                    <a:lnTo>
                      <a:pt x="0" y="188"/>
                    </a:lnTo>
                    <a:lnTo>
                      <a:pt x="11" y="171"/>
                    </a:lnTo>
                    <a:lnTo>
                      <a:pt x="14" y="163"/>
                    </a:lnTo>
                    <a:lnTo>
                      <a:pt x="27" y="161"/>
                    </a:lnTo>
                    <a:lnTo>
                      <a:pt x="23" y="9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1" name="Freeform 58">
                <a:extLst>
                  <a:ext uri="{FF2B5EF4-FFF2-40B4-BE49-F238E27FC236}">
                    <a16:creationId xmlns:a16="http://schemas.microsoft.com/office/drawing/2014/main" id="{1F355C7C-5F52-4D2F-8C34-77D8B5E120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0" y="1254"/>
                <a:ext cx="187" cy="110"/>
              </a:xfrm>
              <a:custGeom>
                <a:avLst/>
                <a:gdLst>
                  <a:gd name="T0" fmla="*/ 65 w 167"/>
                  <a:gd name="T1" fmla="*/ 3 h 99"/>
                  <a:gd name="T2" fmla="*/ 60 w 167"/>
                  <a:gd name="T3" fmla="*/ 23 h 99"/>
                  <a:gd name="T4" fmla="*/ 42 w 167"/>
                  <a:gd name="T5" fmla="*/ 11 h 99"/>
                  <a:gd name="T6" fmla="*/ 27 w 167"/>
                  <a:gd name="T7" fmla="*/ 20 h 99"/>
                  <a:gd name="T8" fmla="*/ 20 w 167"/>
                  <a:gd name="T9" fmla="*/ 3 h 99"/>
                  <a:gd name="T10" fmla="*/ 0 w 167"/>
                  <a:gd name="T11" fmla="*/ 19 h 99"/>
                  <a:gd name="T12" fmla="*/ 4 w 167"/>
                  <a:gd name="T13" fmla="*/ 28 h 99"/>
                  <a:gd name="T14" fmla="*/ 8 w 167"/>
                  <a:gd name="T15" fmla="*/ 45 h 99"/>
                  <a:gd name="T16" fmla="*/ 30 w 167"/>
                  <a:gd name="T17" fmla="*/ 47 h 99"/>
                  <a:gd name="T18" fmla="*/ 42 w 167"/>
                  <a:gd name="T19" fmla="*/ 35 h 99"/>
                  <a:gd name="T20" fmla="*/ 53 w 167"/>
                  <a:gd name="T21" fmla="*/ 38 h 99"/>
                  <a:gd name="T22" fmla="*/ 48 w 167"/>
                  <a:gd name="T23" fmla="*/ 52 h 99"/>
                  <a:gd name="T24" fmla="*/ 45 w 167"/>
                  <a:gd name="T25" fmla="*/ 65 h 99"/>
                  <a:gd name="T26" fmla="*/ 57 w 167"/>
                  <a:gd name="T27" fmla="*/ 75 h 99"/>
                  <a:gd name="T28" fmla="*/ 68 w 167"/>
                  <a:gd name="T29" fmla="*/ 92 h 99"/>
                  <a:gd name="T30" fmla="*/ 82 w 167"/>
                  <a:gd name="T31" fmla="*/ 98 h 99"/>
                  <a:gd name="T32" fmla="*/ 88 w 167"/>
                  <a:gd name="T33" fmla="*/ 73 h 99"/>
                  <a:gd name="T34" fmla="*/ 109 w 167"/>
                  <a:gd name="T35" fmla="*/ 51 h 99"/>
                  <a:gd name="T36" fmla="*/ 121 w 167"/>
                  <a:gd name="T37" fmla="*/ 58 h 99"/>
                  <a:gd name="T38" fmla="*/ 121 w 167"/>
                  <a:gd name="T39" fmla="*/ 75 h 99"/>
                  <a:gd name="T40" fmla="*/ 145 w 167"/>
                  <a:gd name="T41" fmla="*/ 73 h 99"/>
                  <a:gd name="T42" fmla="*/ 157 w 167"/>
                  <a:gd name="T43" fmla="*/ 78 h 99"/>
                  <a:gd name="T44" fmla="*/ 166 w 167"/>
                  <a:gd name="T45" fmla="*/ 60 h 99"/>
                  <a:gd name="T46" fmla="*/ 109 w 167"/>
                  <a:gd name="T47" fmla="*/ 30 h 99"/>
                  <a:gd name="T48" fmla="*/ 90 w 167"/>
                  <a:gd name="T49" fmla="*/ 0 h 99"/>
                  <a:gd name="T50" fmla="*/ 65 w 167"/>
                  <a:gd name="T51" fmla="*/ 3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7" h="99">
                    <a:moveTo>
                      <a:pt x="65" y="3"/>
                    </a:moveTo>
                    <a:lnTo>
                      <a:pt x="60" y="23"/>
                    </a:lnTo>
                    <a:lnTo>
                      <a:pt x="42" y="11"/>
                    </a:lnTo>
                    <a:lnTo>
                      <a:pt x="27" y="20"/>
                    </a:lnTo>
                    <a:lnTo>
                      <a:pt x="20" y="3"/>
                    </a:lnTo>
                    <a:lnTo>
                      <a:pt x="0" y="19"/>
                    </a:lnTo>
                    <a:lnTo>
                      <a:pt x="4" y="28"/>
                    </a:lnTo>
                    <a:lnTo>
                      <a:pt x="8" y="45"/>
                    </a:lnTo>
                    <a:lnTo>
                      <a:pt x="30" y="47"/>
                    </a:lnTo>
                    <a:lnTo>
                      <a:pt x="42" y="35"/>
                    </a:lnTo>
                    <a:lnTo>
                      <a:pt x="53" y="38"/>
                    </a:lnTo>
                    <a:lnTo>
                      <a:pt x="48" y="52"/>
                    </a:lnTo>
                    <a:lnTo>
                      <a:pt x="45" y="65"/>
                    </a:lnTo>
                    <a:lnTo>
                      <a:pt x="57" y="75"/>
                    </a:lnTo>
                    <a:lnTo>
                      <a:pt x="68" y="92"/>
                    </a:lnTo>
                    <a:lnTo>
                      <a:pt x="82" y="98"/>
                    </a:lnTo>
                    <a:lnTo>
                      <a:pt x="88" y="73"/>
                    </a:lnTo>
                    <a:lnTo>
                      <a:pt x="109" y="51"/>
                    </a:lnTo>
                    <a:lnTo>
                      <a:pt x="121" y="58"/>
                    </a:lnTo>
                    <a:lnTo>
                      <a:pt x="121" y="75"/>
                    </a:lnTo>
                    <a:lnTo>
                      <a:pt x="145" y="73"/>
                    </a:lnTo>
                    <a:lnTo>
                      <a:pt x="157" y="78"/>
                    </a:lnTo>
                    <a:lnTo>
                      <a:pt x="166" y="60"/>
                    </a:lnTo>
                    <a:lnTo>
                      <a:pt x="109" y="30"/>
                    </a:lnTo>
                    <a:lnTo>
                      <a:pt x="90" y="0"/>
                    </a:lnTo>
                    <a:lnTo>
                      <a:pt x="65" y="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2" name="Freeform 59">
                <a:extLst>
                  <a:ext uri="{FF2B5EF4-FFF2-40B4-BE49-F238E27FC236}">
                    <a16:creationId xmlns:a16="http://schemas.microsoft.com/office/drawing/2014/main" id="{6312596A-30BD-46AE-864B-B975F5092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1241"/>
                <a:ext cx="107" cy="42"/>
              </a:xfrm>
              <a:custGeom>
                <a:avLst/>
                <a:gdLst>
                  <a:gd name="T0" fmla="*/ 0 w 95"/>
                  <a:gd name="T1" fmla="*/ 3 h 38"/>
                  <a:gd name="T2" fmla="*/ 5 w 95"/>
                  <a:gd name="T3" fmla="*/ 27 h 38"/>
                  <a:gd name="T4" fmla="*/ 43 w 95"/>
                  <a:gd name="T5" fmla="*/ 37 h 38"/>
                  <a:gd name="T6" fmla="*/ 71 w 95"/>
                  <a:gd name="T7" fmla="*/ 27 h 38"/>
                  <a:gd name="T8" fmla="*/ 94 w 95"/>
                  <a:gd name="T9" fmla="*/ 5 h 38"/>
                  <a:gd name="T10" fmla="*/ 54 w 95"/>
                  <a:gd name="T11" fmla="*/ 5 h 38"/>
                  <a:gd name="T12" fmla="*/ 31 w 95"/>
                  <a:gd name="T13" fmla="*/ 0 h 38"/>
                  <a:gd name="T14" fmla="*/ 0 w 95"/>
                  <a:gd name="T15" fmla="*/ 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38">
                    <a:moveTo>
                      <a:pt x="0" y="3"/>
                    </a:moveTo>
                    <a:lnTo>
                      <a:pt x="5" y="27"/>
                    </a:lnTo>
                    <a:lnTo>
                      <a:pt x="43" y="37"/>
                    </a:lnTo>
                    <a:lnTo>
                      <a:pt x="71" y="27"/>
                    </a:lnTo>
                    <a:lnTo>
                      <a:pt x="94" y="5"/>
                    </a:lnTo>
                    <a:lnTo>
                      <a:pt x="54" y="5"/>
                    </a:lnTo>
                    <a:lnTo>
                      <a:pt x="31" y="0"/>
                    </a:lnTo>
                    <a:lnTo>
                      <a:pt x="0" y="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" name="Freeform 60">
                <a:extLst>
                  <a:ext uri="{FF2B5EF4-FFF2-40B4-BE49-F238E27FC236}">
                    <a16:creationId xmlns:a16="http://schemas.microsoft.com/office/drawing/2014/main" id="{F25363A0-A57B-4F89-AC27-E0030B6080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0" y="2703"/>
                <a:ext cx="31" cy="53"/>
              </a:xfrm>
              <a:custGeom>
                <a:avLst/>
                <a:gdLst>
                  <a:gd name="T0" fmla="*/ 2 w 29"/>
                  <a:gd name="T1" fmla="*/ 13 h 48"/>
                  <a:gd name="T2" fmla="*/ 10 w 29"/>
                  <a:gd name="T3" fmla="*/ 10 h 48"/>
                  <a:gd name="T4" fmla="*/ 28 w 29"/>
                  <a:gd name="T5" fmla="*/ 0 h 48"/>
                  <a:gd name="T6" fmla="*/ 25 w 29"/>
                  <a:gd name="T7" fmla="*/ 19 h 48"/>
                  <a:gd name="T8" fmla="*/ 28 w 29"/>
                  <a:gd name="T9" fmla="*/ 39 h 48"/>
                  <a:gd name="T10" fmla="*/ 18 w 29"/>
                  <a:gd name="T11" fmla="*/ 46 h 48"/>
                  <a:gd name="T12" fmla="*/ 8 w 29"/>
                  <a:gd name="T13" fmla="*/ 47 h 48"/>
                  <a:gd name="T14" fmla="*/ 0 w 29"/>
                  <a:gd name="T15" fmla="*/ 45 h 48"/>
                  <a:gd name="T16" fmla="*/ 0 w 29"/>
                  <a:gd name="T17" fmla="*/ 32 h 48"/>
                  <a:gd name="T18" fmla="*/ 2 w 29"/>
                  <a:gd name="T19" fmla="*/ 1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" h="48">
                    <a:moveTo>
                      <a:pt x="2" y="13"/>
                    </a:moveTo>
                    <a:lnTo>
                      <a:pt x="10" y="10"/>
                    </a:lnTo>
                    <a:lnTo>
                      <a:pt x="28" y="0"/>
                    </a:lnTo>
                    <a:lnTo>
                      <a:pt x="25" y="19"/>
                    </a:lnTo>
                    <a:lnTo>
                      <a:pt x="28" y="39"/>
                    </a:lnTo>
                    <a:lnTo>
                      <a:pt x="18" y="46"/>
                    </a:lnTo>
                    <a:lnTo>
                      <a:pt x="8" y="47"/>
                    </a:lnTo>
                    <a:lnTo>
                      <a:pt x="0" y="45"/>
                    </a:lnTo>
                    <a:lnTo>
                      <a:pt x="0" y="32"/>
                    </a:lnTo>
                    <a:lnTo>
                      <a:pt x="2" y="1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" name="Freeform 61">
                <a:extLst>
                  <a:ext uri="{FF2B5EF4-FFF2-40B4-BE49-F238E27FC236}">
                    <a16:creationId xmlns:a16="http://schemas.microsoft.com/office/drawing/2014/main" id="{74BBFD75-D7ED-4296-B6AA-FEB5B3D74F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9" y="2843"/>
                <a:ext cx="55" cy="34"/>
              </a:xfrm>
              <a:custGeom>
                <a:avLst/>
                <a:gdLst>
                  <a:gd name="T0" fmla="*/ 33 w 49"/>
                  <a:gd name="T1" fmla="*/ 2 h 31"/>
                  <a:gd name="T2" fmla="*/ 1 w 49"/>
                  <a:gd name="T3" fmla="*/ 0 h 31"/>
                  <a:gd name="T4" fmla="*/ 0 w 49"/>
                  <a:gd name="T5" fmla="*/ 12 h 31"/>
                  <a:gd name="T6" fmla="*/ 7 w 49"/>
                  <a:gd name="T7" fmla="*/ 23 h 31"/>
                  <a:gd name="T8" fmla="*/ 35 w 49"/>
                  <a:gd name="T9" fmla="*/ 30 h 31"/>
                  <a:gd name="T10" fmla="*/ 48 w 49"/>
                  <a:gd name="T11" fmla="*/ 23 h 31"/>
                  <a:gd name="T12" fmla="*/ 47 w 49"/>
                  <a:gd name="T13" fmla="*/ 10 h 31"/>
                  <a:gd name="T14" fmla="*/ 33 w 49"/>
                  <a:gd name="T15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9" h="31">
                    <a:moveTo>
                      <a:pt x="33" y="2"/>
                    </a:moveTo>
                    <a:lnTo>
                      <a:pt x="1" y="0"/>
                    </a:lnTo>
                    <a:lnTo>
                      <a:pt x="0" y="12"/>
                    </a:lnTo>
                    <a:lnTo>
                      <a:pt x="7" y="23"/>
                    </a:lnTo>
                    <a:lnTo>
                      <a:pt x="35" y="30"/>
                    </a:lnTo>
                    <a:lnTo>
                      <a:pt x="48" y="23"/>
                    </a:lnTo>
                    <a:lnTo>
                      <a:pt x="47" y="10"/>
                    </a:lnTo>
                    <a:lnTo>
                      <a:pt x="33" y="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" name="Freeform 62">
                <a:extLst>
                  <a:ext uri="{FF2B5EF4-FFF2-40B4-BE49-F238E27FC236}">
                    <a16:creationId xmlns:a16="http://schemas.microsoft.com/office/drawing/2014/main" id="{7AF4ECE8-3721-4779-BC17-B0E256FEF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1" y="2814"/>
                <a:ext cx="214" cy="215"/>
              </a:xfrm>
              <a:custGeom>
                <a:avLst/>
                <a:gdLst>
                  <a:gd name="T0" fmla="*/ 28 w 191"/>
                  <a:gd name="T1" fmla="*/ 6 h 193"/>
                  <a:gd name="T2" fmla="*/ 16 w 191"/>
                  <a:gd name="T3" fmla="*/ 19 h 193"/>
                  <a:gd name="T4" fmla="*/ 10 w 191"/>
                  <a:gd name="T5" fmla="*/ 42 h 193"/>
                  <a:gd name="T6" fmla="*/ 0 w 191"/>
                  <a:gd name="T7" fmla="*/ 49 h 193"/>
                  <a:gd name="T8" fmla="*/ 13 w 191"/>
                  <a:gd name="T9" fmla="*/ 67 h 193"/>
                  <a:gd name="T10" fmla="*/ 9 w 191"/>
                  <a:gd name="T11" fmla="*/ 84 h 193"/>
                  <a:gd name="T12" fmla="*/ 36 w 191"/>
                  <a:gd name="T13" fmla="*/ 85 h 193"/>
                  <a:gd name="T14" fmla="*/ 36 w 191"/>
                  <a:gd name="T15" fmla="*/ 95 h 193"/>
                  <a:gd name="T16" fmla="*/ 58 w 191"/>
                  <a:gd name="T17" fmla="*/ 105 h 193"/>
                  <a:gd name="T18" fmla="*/ 80 w 191"/>
                  <a:gd name="T19" fmla="*/ 112 h 193"/>
                  <a:gd name="T20" fmla="*/ 80 w 191"/>
                  <a:gd name="T21" fmla="*/ 140 h 193"/>
                  <a:gd name="T22" fmla="*/ 75 w 191"/>
                  <a:gd name="T23" fmla="*/ 159 h 193"/>
                  <a:gd name="T24" fmla="*/ 77 w 191"/>
                  <a:gd name="T25" fmla="*/ 173 h 193"/>
                  <a:gd name="T26" fmla="*/ 87 w 191"/>
                  <a:gd name="T27" fmla="*/ 176 h 193"/>
                  <a:gd name="T28" fmla="*/ 94 w 191"/>
                  <a:gd name="T29" fmla="*/ 186 h 193"/>
                  <a:gd name="T30" fmla="*/ 105 w 191"/>
                  <a:gd name="T31" fmla="*/ 192 h 193"/>
                  <a:gd name="T32" fmla="*/ 120 w 191"/>
                  <a:gd name="T33" fmla="*/ 189 h 193"/>
                  <a:gd name="T34" fmla="*/ 132 w 191"/>
                  <a:gd name="T35" fmla="*/ 180 h 193"/>
                  <a:gd name="T36" fmla="*/ 131 w 191"/>
                  <a:gd name="T37" fmla="*/ 169 h 193"/>
                  <a:gd name="T38" fmla="*/ 122 w 191"/>
                  <a:gd name="T39" fmla="*/ 162 h 193"/>
                  <a:gd name="T40" fmla="*/ 120 w 191"/>
                  <a:gd name="T41" fmla="*/ 154 h 193"/>
                  <a:gd name="T42" fmla="*/ 124 w 191"/>
                  <a:gd name="T43" fmla="*/ 140 h 193"/>
                  <a:gd name="T44" fmla="*/ 130 w 191"/>
                  <a:gd name="T45" fmla="*/ 139 h 193"/>
                  <a:gd name="T46" fmla="*/ 143 w 191"/>
                  <a:gd name="T47" fmla="*/ 150 h 193"/>
                  <a:gd name="T48" fmla="*/ 150 w 191"/>
                  <a:gd name="T49" fmla="*/ 145 h 193"/>
                  <a:gd name="T50" fmla="*/ 176 w 191"/>
                  <a:gd name="T51" fmla="*/ 143 h 193"/>
                  <a:gd name="T52" fmla="*/ 179 w 191"/>
                  <a:gd name="T53" fmla="*/ 134 h 193"/>
                  <a:gd name="T54" fmla="*/ 179 w 191"/>
                  <a:gd name="T55" fmla="*/ 123 h 193"/>
                  <a:gd name="T56" fmla="*/ 172 w 191"/>
                  <a:gd name="T57" fmla="*/ 114 h 193"/>
                  <a:gd name="T58" fmla="*/ 173 w 191"/>
                  <a:gd name="T59" fmla="*/ 100 h 193"/>
                  <a:gd name="T60" fmla="*/ 182 w 191"/>
                  <a:gd name="T61" fmla="*/ 92 h 193"/>
                  <a:gd name="T62" fmla="*/ 184 w 191"/>
                  <a:gd name="T63" fmla="*/ 85 h 193"/>
                  <a:gd name="T64" fmla="*/ 190 w 191"/>
                  <a:gd name="T65" fmla="*/ 79 h 193"/>
                  <a:gd name="T66" fmla="*/ 190 w 191"/>
                  <a:gd name="T67" fmla="*/ 64 h 193"/>
                  <a:gd name="T68" fmla="*/ 184 w 191"/>
                  <a:gd name="T69" fmla="*/ 61 h 193"/>
                  <a:gd name="T70" fmla="*/ 179 w 191"/>
                  <a:gd name="T71" fmla="*/ 47 h 193"/>
                  <a:gd name="T72" fmla="*/ 172 w 191"/>
                  <a:gd name="T73" fmla="*/ 39 h 193"/>
                  <a:gd name="T74" fmla="*/ 176 w 191"/>
                  <a:gd name="T75" fmla="*/ 35 h 193"/>
                  <a:gd name="T76" fmla="*/ 176 w 191"/>
                  <a:gd name="T77" fmla="*/ 28 h 193"/>
                  <a:gd name="T78" fmla="*/ 154 w 191"/>
                  <a:gd name="T79" fmla="*/ 27 h 193"/>
                  <a:gd name="T80" fmla="*/ 137 w 191"/>
                  <a:gd name="T81" fmla="*/ 30 h 193"/>
                  <a:gd name="T82" fmla="*/ 128 w 191"/>
                  <a:gd name="T83" fmla="*/ 37 h 193"/>
                  <a:gd name="T84" fmla="*/ 117 w 191"/>
                  <a:gd name="T85" fmla="*/ 35 h 193"/>
                  <a:gd name="T86" fmla="*/ 86 w 191"/>
                  <a:gd name="T87" fmla="*/ 33 h 193"/>
                  <a:gd name="T88" fmla="*/ 83 w 191"/>
                  <a:gd name="T89" fmla="*/ 25 h 193"/>
                  <a:gd name="T90" fmla="*/ 75 w 191"/>
                  <a:gd name="T91" fmla="*/ 22 h 193"/>
                  <a:gd name="T92" fmla="*/ 62 w 191"/>
                  <a:gd name="T93" fmla="*/ 18 h 193"/>
                  <a:gd name="T94" fmla="*/ 59 w 191"/>
                  <a:gd name="T95" fmla="*/ 9 h 193"/>
                  <a:gd name="T96" fmla="*/ 48 w 191"/>
                  <a:gd name="T97" fmla="*/ 6 h 193"/>
                  <a:gd name="T98" fmla="*/ 48 w 191"/>
                  <a:gd name="T99" fmla="*/ 0 h 193"/>
                  <a:gd name="T100" fmla="*/ 43 w 191"/>
                  <a:gd name="T101" fmla="*/ 6 h 193"/>
                  <a:gd name="T102" fmla="*/ 28 w 191"/>
                  <a:gd name="T103" fmla="*/ 6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91" h="193">
                    <a:moveTo>
                      <a:pt x="28" y="6"/>
                    </a:moveTo>
                    <a:lnTo>
                      <a:pt x="16" y="19"/>
                    </a:lnTo>
                    <a:lnTo>
                      <a:pt x="10" y="42"/>
                    </a:lnTo>
                    <a:lnTo>
                      <a:pt x="0" y="49"/>
                    </a:lnTo>
                    <a:lnTo>
                      <a:pt x="13" y="67"/>
                    </a:lnTo>
                    <a:lnTo>
                      <a:pt x="9" y="84"/>
                    </a:lnTo>
                    <a:lnTo>
                      <a:pt x="36" y="85"/>
                    </a:lnTo>
                    <a:lnTo>
                      <a:pt x="36" y="95"/>
                    </a:lnTo>
                    <a:lnTo>
                      <a:pt x="58" y="105"/>
                    </a:lnTo>
                    <a:lnTo>
                      <a:pt x="80" y="112"/>
                    </a:lnTo>
                    <a:lnTo>
                      <a:pt x="80" y="140"/>
                    </a:lnTo>
                    <a:lnTo>
                      <a:pt x="75" y="159"/>
                    </a:lnTo>
                    <a:lnTo>
                      <a:pt x="77" y="173"/>
                    </a:lnTo>
                    <a:lnTo>
                      <a:pt x="87" y="176"/>
                    </a:lnTo>
                    <a:lnTo>
                      <a:pt x="94" y="186"/>
                    </a:lnTo>
                    <a:lnTo>
                      <a:pt x="105" y="192"/>
                    </a:lnTo>
                    <a:lnTo>
                      <a:pt x="120" y="189"/>
                    </a:lnTo>
                    <a:lnTo>
                      <a:pt x="132" y="180"/>
                    </a:lnTo>
                    <a:lnTo>
                      <a:pt x="131" y="169"/>
                    </a:lnTo>
                    <a:lnTo>
                      <a:pt x="122" y="162"/>
                    </a:lnTo>
                    <a:lnTo>
                      <a:pt x="120" y="154"/>
                    </a:lnTo>
                    <a:lnTo>
                      <a:pt x="124" y="140"/>
                    </a:lnTo>
                    <a:lnTo>
                      <a:pt x="130" y="139"/>
                    </a:lnTo>
                    <a:lnTo>
                      <a:pt x="143" y="150"/>
                    </a:lnTo>
                    <a:lnTo>
                      <a:pt x="150" y="145"/>
                    </a:lnTo>
                    <a:lnTo>
                      <a:pt x="176" y="143"/>
                    </a:lnTo>
                    <a:lnTo>
                      <a:pt x="179" y="134"/>
                    </a:lnTo>
                    <a:lnTo>
                      <a:pt x="179" y="123"/>
                    </a:lnTo>
                    <a:lnTo>
                      <a:pt x="172" y="114"/>
                    </a:lnTo>
                    <a:lnTo>
                      <a:pt x="173" y="100"/>
                    </a:lnTo>
                    <a:lnTo>
                      <a:pt x="182" y="92"/>
                    </a:lnTo>
                    <a:lnTo>
                      <a:pt x="184" y="85"/>
                    </a:lnTo>
                    <a:lnTo>
                      <a:pt x="190" y="79"/>
                    </a:lnTo>
                    <a:lnTo>
                      <a:pt x="190" y="64"/>
                    </a:lnTo>
                    <a:lnTo>
                      <a:pt x="184" y="61"/>
                    </a:lnTo>
                    <a:lnTo>
                      <a:pt x="179" y="47"/>
                    </a:lnTo>
                    <a:lnTo>
                      <a:pt x="172" y="39"/>
                    </a:lnTo>
                    <a:lnTo>
                      <a:pt x="176" y="35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7" y="30"/>
                    </a:lnTo>
                    <a:lnTo>
                      <a:pt x="128" y="37"/>
                    </a:lnTo>
                    <a:lnTo>
                      <a:pt x="117" y="35"/>
                    </a:lnTo>
                    <a:lnTo>
                      <a:pt x="86" y="33"/>
                    </a:lnTo>
                    <a:lnTo>
                      <a:pt x="83" y="25"/>
                    </a:lnTo>
                    <a:lnTo>
                      <a:pt x="75" y="22"/>
                    </a:lnTo>
                    <a:lnTo>
                      <a:pt x="62" y="18"/>
                    </a:lnTo>
                    <a:lnTo>
                      <a:pt x="59" y="9"/>
                    </a:lnTo>
                    <a:lnTo>
                      <a:pt x="48" y="6"/>
                    </a:lnTo>
                    <a:lnTo>
                      <a:pt x="48" y="0"/>
                    </a:lnTo>
                    <a:lnTo>
                      <a:pt x="43" y="6"/>
                    </a:lnTo>
                    <a:lnTo>
                      <a:pt x="28" y="6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" name="Freeform 63">
                <a:extLst>
                  <a:ext uri="{FF2B5EF4-FFF2-40B4-BE49-F238E27FC236}">
                    <a16:creationId xmlns:a16="http://schemas.microsoft.com/office/drawing/2014/main" id="{86BD2B5A-CAC3-4AE3-9D6A-1131E6899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3" y="3608"/>
                <a:ext cx="89" cy="100"/>
              </a:xfrm>
              <a:custGeom>
                <a:avLst/>
                <a:gdLst>
                  <a:gd name="T0" fmla="*/ 19 w 80"/>
                  <a:gd name="T1" fmla="*/ 0 h 88"/>
                  <a:gd name="T2" fmla="*/ 25 w 80"/>
                  <a:gd name="T3" fmla="*/ 8 h 88"/>
                  <a:gd name="T4" fmla="*/ 39 w 80"/>
                  <a:gd name="T5" fmla="*/ 13 h 88"/>
                  <a:gd name="T6" fmla="*/ 70 w 80"/>
                  <a:gd name="T7" fmla="*/ 42 h 88"/>
                  <a:gd name="T8" fmla="*/ 76 w 80"/>
                  <a:gd name="T9" fmla="*/ 53 h 88"/>
                  <a:gd name="T10" fmla="*/ 79 w 80"/>
                  <a:gd name="T11" fmla="*/ 65 h 88"/>
                  <a:gd name="T12" fmla="*/ 70 w 80"/>
                  <a:gd name="T13" fmla="*/ 71 h 88"/>
                  <a:gd name="T14" fmla="*/ 66 w 80"/>
                  <a:gd name="T15" fmla="*/ 75 h 88"/>
                  <a:gd name="T16" fmla="*/ 64 w 80"/>
                  <a:gd name="T17" fmla="*/ 81 h 88"/>
                  <a:gd name="T18" fmla="*/ 53 w 80"/>
                  <a:gd name="T19" fmla="*/ 83 h 88"/>
                  <a:gd name="T20" fmla="*/ 50 w 80"/>
                  <a:gd name="T21" fmla="*/ 87 h 88"/>
                  <a:gd name="T22" fmla="*/ 44 w 80"/>
                  <a:gd name="T23" fmla="*/ 84 h 88"/>
                  <a:gd name="T24" fmla="*/ 29 w 80"/>
                  <a:gd name="T25" fmla="*/ 78 h 88"/>
                  <a:gd name="T26" fmla="*/ 18 w 80"/>
                  <a:gd name="T27" fmla="*/ 72 h 88"/>
                  <a:gd name="T28" fmla="*/ 12 w 80"/>
                  <a:gd name="T29" fmla="*/ 78 h 88"/>
                  <a:gd name="T30" fmla="*/ 6 w 80"/>
                  <a:gd name="T31" fmla="*/ 81 h 88"/>
                  <a:gd name="T32" fmla="*/ 2 w 80"/>
                  <a:gd name="T33" fmla="*/ 64 h 88"/>
                  <a:gd name="T34" fmla="*/ 0 w 80"/>
                  <a:gd name="T35" fmla="*/ 40 h 88"/>
                  <a:gd name="T36" fmla="*/ 3 w 80"/>
                  <a:gd name="T37" fmla="*/ 24 h 88"/>
                  <a:gd name="T38" fmla="*/ 11 w 80"/>
                  <a:gd name="T39" fmla="*/ 10 h 88"/>
                  <a:gd name="T40" fmla="*/ 19 w 80"/>
                  <a:gd name="T41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0" h="88">
                    <a:moveTo>
                      <a:pt x="19" y="0"/>
                    </a:moveTo>
                    <a:lnTo>
                      <a:pt x="25" y="8"/>
                    </a:lnTo>
                    <a:lnTo>
                      <a:pt x="39" y="13"/>
                    </a:lnTo>
                    <a:lnTo>
                      <a:pt x="70" y="42"/>
                    </a:lnTo>
                    <a:lnTo>
                      <a:pt x="76" y="53"/>
                    </a:lnTo>
                    <a:lnTo>
                      <a:pt x="79" y="65"/>
                    </a:lnTo>
                    <a:lnTo>
                      <a:pt x="70" y="71"/>
                    </a:lnTo>
                    <a:lnTo>
                      <a:pt x="66" y="75"/>
                    </a:lnTo>
                    <a:lnTo>
                      <a:pt x="64" y="81"/>
                    </a:lnTo>
                    <a:lnTo>
                      <a:pt x="53" y="83"/>
                    </a:lnTo>
                    <a:lnTo>
                      <a:pt x="50" y="87"/>
                    </a:lnTo>
                    <a:lnTo>
                      <a:pt x="44" y="84"/>
                    </a:lnTo>
                    <a:lnTo>
                      <a:pt x="29" y="78"/>
                    </a:lnTo>
                    <a:lnTo>
                      <a:pt x="18" y="72"/>
                    </a:lnTo>
                    <a:lnTo>
                      <a:pt x="12" y="78"/>
                    </a:lnTo>
                    <a:lnTo>
                      <a:pt x="6" y="81"/>
                    </a:lnTo>
                    <a:lnTo>
                      <a:pt x="2" y="64"/>
                    </a:lnTo>
                    <a:lnTo>
                      <a:pt x="0" y="40"/>
                    </a:lnTo>
                    <a:lnTo>
                      <a:pt x="3" y="24"/>
                    </a:lnTo>
                    <a:lnTo>
                      <a:pt x="11" y="10"/>
                    </a:lnTo>
                    <a:lnTo>
                      <a:pt x="19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" name="Freeform 64">
                <a:extLst>
                  <a:ext uri="{FF2B5EF4-FFF2-40B4-BE49-F238E27FC236}">
                    <a16:creationId xmlns:a16="http://schemas.microsoft.com/office/drawing/2014/main" id="{91B4EC09-59D2-4996-8747-A68A22F38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5" y="3227"/>
                <a:ext cx="199" cy="249"/>
              </a:xfrm>
              <a:custGeom>
                <a:avLst/>
                <a:gdLst>
                  <a:gd name="T0" fmla="*/ 162 w 177"/>
                  <a:gd name="T1" fmla="*/ 170 h 222"/>
                  <a:gd name="T2" fmla="*/ 169 w 177"/>
                  <a:gd name="T3" fmla="*/ 169 h 222"/>
                  <a:gd name="T4" fmla="*/ 174 w 177"/>
                  <a:gd name="T5" fmla="*/ 159 h 222"/>
                  <a:gd name="T6" fmla="*/ 176 w 177"/>
                  <a:gd name="T7" fmla="*/ 141 h 222"/>
                  <a:gd name="T8" fmla="*/ 171 w 177"/>
                  <a:gd name="T9" fmla="*/ 137 h 222"/>
                  <a:gd name="T10" fmla="*/ 169 w 177"/>
                  <a:gd name="T11" fmla="*/ 126 h 222"/>
                  <a:gd name="T12" fmla="*/ 161 w 177"/>
                  <a:gd name="T13" fmla="*/ 124 h 222"/>
                  <a:gd name="T14" fmla="*/ 160 w 177"/>
                  <a:gd name="T15" fmla="*/ 113 h 222"/>
                  <a:gd name="T16" fmla="*/ 141 w 177"/>
                  <a:gd name="T17" fmla="*/ 114 h 222"/>
                  <a:gd name="T18" fmla="*/ 136 w 177"/>
                  <a:gd name="T19" fmla="*/ 108 h 222"/>
                  <a:gd name="T20" fmla="*/ 131 w 177"/>
                  <a:gd name="T21" fmla="*/ 108 h 222"/>
                  <a:gd name="T22" fmla="*/ 131 w 177"/>
                  <a:gd name="T23" fmla="*/ 87 h 222"/>
                  <a:gd name="T24" fmla="*/ 138 w 177"/>
                  <a:gd name="T25" fmla="*/ 81 h 222"/>
                  <a:gd name="T26" fmla="*/ 131 w 177"/>
                  <a:gd name="T27" fmla="*/ 80 h 222"/>
                  <a:gd name="T28" fmla="*/ 129 w 177"/>
                  <a:gd name="T29" fmla="*/ 66 h 222"/>
                  <a:gd name="T30" fmla="*/ 121 w 177"/>
                  <a:gd name="T31" fmla="*/ 64 h 222"/>
                  <a:gd name="T32" fmla="*/ 107 w 177"/>
                  <a:gd name="T33" fmla="*/ 62 h 222"/>
                  <a:gd name="T34" fmla="*/ 104 w 177"/>
                  <a:gd name="T35" fmla="*/ 53 h 222"/>
                  <a:gd name="T36" fmla="*/ 94 w 177"/>
                  <a:gd name="T37" fmla="*/ 51 h 222"/>
                  <a:gd name="T38" fmla="*/ 93 w 177"/>
                  <a:gd name="T39" fmla="*/ 47 h 222"/>
                  <a:gd name="T40" fmla="*/ 70 w 177"/>
                  <a:gd name="T41" fmla="*/ 47 h 222"/>
                  <a:gd name="T42" fmla="*/ 67 w 177"/>
                  <a:gd name="T43" fmla="*/ 42 h 222"/>
                  <a:gd name="T44" fmla="*/ 61 w 177"/>
                  <a:gd name="T45" fmla="*/ 32 h 222"/>
                  <a:gd name="T46" fmla="*/ 60 w 177"/>
                  <a:gd name="T47" fmla="*/ 3 h 222"/>
                  <a:gd name="T48" fmla="*/ 40 w 177"/>
                  <a:gd name="T49" fmla="*/ 0 h 222"/>
                  <a:gd name="T50" fmla="*/ 39 w 177"/>
                  <a:gd name="T51" fmla="*/ 11 h 222"/>
                  <a:gd name="T52" fmla="*/ 31 w 177"/>
                  <a:gd name="T53" fmla="*/ 10 h 222"/>
                  <a:gd name="T54" fmla="*/ 28 w 177"/>
                  <a:gd name="T55" fmla="*/ 17 h 222"/>
                  <a:gd name="T56" fmla="*/ 23 w 177"/>
                  <a:gd name="T57" fmla="*/ 21 h 222"/>
                  <a:gd name="T58" fmla="*/ 13 w 177"/>
                  <a:gd name="T59" fmla="*/ 25 h 222"/>
                  <a:gd name="T60" fmla="*/ 3 w 177"/>
                  <a:gd name="T61" fmla="*/ 24 h 222"/>
                  <a:gd name="T62" fmla="*/ 14 w 177"/>
                  <a:gd name="T63" fmla="*/ 41 h 222"/>
                  <a:gd name="T64" fmla="*/ 13 w 177"/>
                  <a:gd name="T65" fmla="*/ 55 h 222"/>
                  <a:gd name="T66" fmla="*/ 6 w 177"/>
                  <a:gd name="T67" fmla="*/ 61 h 222"/>
                  <a:gd name="T68" fmla="*/ 6 w 177"/>
                  <a:gd name="T69" fmla="*/ 80 h 222"/>
                  <a:gd name="T70" fmla="*/ 4 w 177"/>
                  <a:gd name="T71" fmla="*/ 106 h 222"/>
                  <a:gd name="T72" fmla="*/ 9 w 177"/>
                  <a:gd name="T73" fmla="*/ 114 h 222"/>
                  <a:gd name="T74" fmla="*/ 4 w 177"/>
                  <a:gd name="T75" fmla="*/ 116 h 222"/>
                  <a:gd name="T76" fmla="*/ 0 w 177"/>
                  <a:gd name="T77" fmla="*/ 128 h 222"/>
                  <a:gd name="T78" fmla="*/ 8 w 177"/>
                  <a:gd name="T79" fmla="*/ 135 h 222"/>
                  <a:gd name="T80" fmla="*/ 9 w 177"/>
                  <a:gd name="T81" fmla="*/ 151 h 222"/>
                  <a:gd name="T82" fmla="*/ 23 w 177"/>
                  <a:gd name="T83" fmla="*/ 163 h 222"/>
                  <a:gd name="T84" fmla="*/ 23 w 177"/>
                  <a:gd name="T85" fmla="*/ 195 h 222"/>
                  <a:gd name="T86" fmla="*/ 34 w 177"/>
                  <a:gd name="T87" fmla="*/ 214 h 222"/>
                  <a:gd name="T88" fmla="*/ 44 w 177"/>
                  <a:gd name="T89" fmla="*/ 221 h 222"/>
                  <a:gd name="T90" fmla="*/ 53 w 177"/>
                  <a:gd name="T91" fmla="*/ 202 h 222"/>
                  <a:gd name="T92" fmla="*/ 67 w 177"/>
                  <a:gd name="T93" fmla="*/ 213 h 222"/>
                  <a:gd name="T94" fmla="*/ 83 w 177"/>
                  <a:gd name="T95" fmla="*/ 219 h 222"/>
                  <a:gd name="T96" fmla="*/ 100 w 177"/>
                  <a:gd name="T97" fmla="*/ 206 h 222"/>
                  <a:gd name="T98" fmla="*/ 106 w 177"/>
                  <a:gd name="T99" fmla="*/ 181 h 222"/>
                  <a:gd name="T100" fmla="*/ 111 w 177"/>
                  <a:gd name="T101" fmla="*/ 169 h 222"/>
                  <a:gd name="T102" fmla="*/ 127 w 177"/>
                  <a:gd name="T103" fmla="*/ 162 h 222"/>
                  <a:gd name="T104" fmla="*/ 138 w 177"/>
                  <a:gd name="T105" fmla="*/ 153 h 222"/>
                  <a:gd name="T106" fmla="*/ 155 w 177"/>
                  <a:gd name="T107" fmla="*/ 159 h 222"/>
                  <a:gd name="T108" fmla="*/ 162 w 177"/>
                  <a:gd name="T109" fmla="*/ 17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7" h="222">
                    <a:moveTo>
                      <a:pt x="162" y="170"/>
                    </a:moveTo>
                    <a:lnTo>
                      <a:pt x="169" y="169"/>
                    </a:lnTo>
                    <a:lnTo>
                      <a:pt x="174" y="159"/>
                    </a:lnTo>
                    <a:lnTo>
                      <a:pt x="176" y="141"/>
                    </a:lnTo>
                    <a:lnTo>
                      <a:pt x="171" y="137"/>
                    </a:lnTo>
                    <a:lnTo>
                      <a:pt x="169" y="126"/>
                    </a:lnTo>
                    <a:lnTo>
                      <a:pt x="161" y="124"/>
                    </a:lnTo>
                    <a:lnTo>
                      <a:pt x="160" y="113"/>
                    </a:lnTo>
                    <a:lnTo>
                      <a:pt x="141" y="114"/>
                    </a:lnTo>
                    <a:lnTo>
                      <a:pt x="136" y="108"/>
                    </a:lnTo>
                    <a:lnTo>
                      <a:pt x="131" y="108"/>
                    </a:lnTo>
                    <a:lnTo>
                      <a:pt x="131" y="87"/>
                    </a:lnTo>
                    <a:lnTo>
                      <a:pt x="138" y="81"/>
                    </a:lnTo>
                    <a:lnTo>
                      <a:pt x="131" y="80"/>
                    </a:lnTo>
                    <a:lnTo>
                      <a:pt x="129" y="66"/>
                    </a:lnTo>
                    <a:lnTo>
                      <a:pt x="121" y="64"/>
                    </a:lnTo>
                    <a:lnTo>
                      <a:pt x="107" y="62"/>
                    </a:lnTo>
                    <a:lnTo>
                      <a:pt x="104" y="53"/>
                    </a:lnTo>
                    <a:lnTo>
                      <a:pt x="94" y="51"/>
                    </a:lnTo>
                    <a:lnTo>
                      <a:pt x="93" y="47"/>
                    </a:lnTo>
                    <a:lnTo>
                      <a:pt x="70" y="47"/>
                    </a:lnTo>
                    <a:lnTo>
                      <a:pt x="67" y="42"/>
                    </a:lnTo>
                    <a:lnTo>
                      <a:pt x="61" y="32"/>
                    </a:lnTo>
                    <a:lnTo>
                      <a:pt x="60" y="3"/>
                    </a:lnTo>
                    <a:lnTo>
                      <a:pt x="40" y="0"/>
                    </a:lnTo>
                    <a:lnTo>
                      <a:pt x="39" y="11"/>
                    </a:lnTo>
                    <a:lnTo>
                      <a:pt x="31" y="10"/>
                    </a:lnTo>
                    <a:lnTo>
                      <a:pt x="28" y="17"/>
                    </a:lnTo>
                    <a:lnTo>
                      <a:pt x="23" y="21"/>
                    </a:lnTo>
                    <a:lnTo>
                      <a:pt x="13" y="25"/>
                    </a:lnTo>
                    <a:lnTo>
                      <a:pt x="3" y="24"/>
                    </a:lnTo>
                    <a:lnTo>
                      <a:pt x="14" y="41"/>
                    </a:lnTo>
                    <a:lnTo>
                      <a:pt x="13" y="55"/>
                    </a:lnTo>
                    <a:lnTo>
                      <a:pt x="6" y="61"/>
                    </a:lnTo>
                    <a:lnTo>
                      <a:pt x="6" y="80"/>
                    </a:lnTo>
                    <a:lnTo>
                      <a:pt x="4" y="106"/>
                    </a:lnTo>
                    <a:lnTo>
                      <a:pt x="9" y="114"/>
                    </a:lnTo>
                    <a:lnTo>
                      <a:pt x="4" y="116"/>
                    </a:lnTo>
                    <a:lnTo>
                      <a:pt x="0" y="128"/>
                    </a:lnTo>
                    <a:lnTo>
                      <a:pt x="8" y="135"/>
                    </a:lnTo>
                    <a:lnTo>
                      <a:pt x="9" y="151"/>
                    </a:lnTo>
                    <a:lnTo>
                      <a:pt x="23" y="163"/>
                    </a:lnTo>
                    <a:lnTo>
                      <a:pt x="23" y="195"/>
                    </a:lnTo>
                    <a:lnTo>
                      <a:pt x="34" y="214"/>
                    </a:lnTo>
                    <a:lnTo>
                      <a:pt x="44" y="221"/>
                    </a:lnTo>
                    <a:lnTo>
                      <a:pt x="53" y="202"/>
                    </a:lnTo>
                    <a:lnTo>
                      <a:pt x="67" y="213"/>
                    </a:lnTo>
                    <a:lnTo>
                      <a:pt x="83" y="219"/>
                    </a:lnTo>
                    <a:lnTo>
                      <a:pt x="100" y="206"/>
                    </a:lnTo>
                    <a:lnTo>
                      <a:pt x="106" y="181"/>
                    </a:lnTo>
                    <a:lnTo>
                      <a:pt x="111" y="169"/>
                    </a:lnTo>
                    <a:lnTo>
                      <a:pt x="127" y="162"/>
                    </a:lnTo>
                    <a:lnTo>
                      <a:pt x="138" y="153"/>
                    </a:lnTo>
                    <a:lnTo>
                      <a:pt x="155" y="159"/>
                    </a:lnTo>
                    <a:lnTo>
                      <a:pt x="162" y="17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" name="Freeform 65">
                <a:extLst>
                  <a:ext uri="{FF2B5EF4-FFF2-40B4-BE49-F238E27FC236}">
                    <a16:creationId xmlns:a16="http://schemas.microsoft.com/office/drawing/2014/main" id="{E3FEA956-6670-4621-A967-F055116535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3" y="2937"/>
                <a:ext cx="57" cy="72"/>
              </a:xfrm>
              <a:custGeom>
                <a:avLst/>
                <a:gdLst>
                  <a:gd name="T0" fmla="*/ 9 w 51"/>
                  <a:gd name="T1" fmla="*/ 2 h 64"/>
                  <a:gd name="T2" fmla="*/ 4 w 51"/>
                  <a:gd name="T3" fmla="*/ 10 h 64"/>
                  <a:gd name="T4" fmla="*/ 4 w 51"/>
                  <a:gd name="T5" fmla="*/ 51 h 64"/>
                  <a:gd name="T6" fmla="*/ 0 w 51"/>
                  <a:gd name="T7" fmla="*/ 55 h 64"/>
                  <a:gd name="T8" fmla="*/ 6 w 51"/>
                  <a:gd name="T9" fmla="*/ 61 h 64"/>
                  <a:gd name="T10" fmla="*/ 22 w 51"/>
                  <a:gd name="T11" fmla="*/ 63 h 64"/>
                  <a:gd name="T12" fmla="*/ 25 w 51"/>
                  <a:gd name="T13" fmla="*/ 54 h 64"/>
                  <a:gd name="T14" fmla="*/ 30 w 51"/>
                  <a:gd name="T15" fmla="*/ 46 h 64"/>
                  <a:gd name="T16" fmla="*/ 38 w 51"/>
                  <a:gd name="T17" fmla="*/ 38 h 64"/>
                  <a:gd name="T18" fmla="*/ 50 w 51"/>
                  <a:gd name="T19" fmla="*/ 38 h 64"/>
                  <a:gd name="T20" fmla="*/ 47 w 51"/>
                  <a:gd name="T21" fmla="*/ 28 h 64"/>
                  <a:gd name="T22" fmla="*/ 37 w 51"/>
                  <a:gd name="T23" fmla="*/ 22 h 64"/>
                  <a:gd name="T24" fmla="*/ 35 w 51"/>
                  <a:gd name="T25" fmla="*/ 13 h 64"/>
                  <a:gd name="T26" fmla="*/ 28 w 51"/>
                  <a:gd name="T27" fmla="*/ 10 h 64"/>
                  <a:gd name="T28" fmla="*/ 18 w 51"/>
                  <a:gd name="T29" fmla="*/ 8 h 64"/>
                  <a:gd name="T30" fmla="*/ 16 w 51"/>
                  <a:gd name="T31" fmla="*/ 0 h 64"/>
                  <a:gd name="T32" fmla="*/ 9 w 51"/>
                  <a:gd name="T33" fmla="*/ 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64">
                    <a:moveTo>
                      <a:pt x="9" y="2"/>
                    </a:moveTo>
                    <a:lnTo>
                      <a:pt x="4" y="10"/>
                    </a:lnTo>
                    <a:lnTo>
                      <a:pt x="4" y="51"/>
                    </a:lnTo>
                    <a:lnTo>
                      <a:pt x="0" y="55"/>
                    </a:lnTo>
                    <a:lnTo>
                      <a:pt x="6" y="61"/>
                    </a:lnTo>
                    <a:lnTo>
                      <a:pt x="22" y="63"/>
                    </a:lnTo>
                    <a:lnTo>
                      <a:pt x="25" y="54"/>
                    </a:lnTo>
                    <a:lnTo>
                      <a:pt x="30" y="46"/>
                    </a:lnTo>
                    <a:lnTo>
                      <a:pt x="38" y="38"/>
                    </a:lnTo>
                    <a:lnTo>
                      <a:pt x="50" y="38"/>
                    </a:lnTo>
                    <a:lnTo>
                      <a:pt x="47" y="28"/>
                    </a:lnTo>
                    <a:lnTo>
                      <a:pt x="37" y="22"/>
                    </a:lnTo>
                    <a:lnTo>
                      <a:pt x="35" y="13"/>
                    </a:lnTo>
                    <a:lnTo>
                      <a:pt x="28" y="10"/>
                    </a:lnTo>
                    <a:lnTo>
                      <a:pt x="18" y="8"/>
                    </a:lnTo>
                    <a:lnTo>
                      <a:pt x="16" y="0"/>
                    </a:lnTo>
                    <a:lnTo>
                      <a:pt x="9" y="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" name="Freeform 66">
                <a:extLst>
                  <a:ext uri="{FF2B5EF4-FFF2-40B4-BE49-F238E27FC236}">
                    <a16:creationId xmlns:a16="http://schemas.microsoft.com/office/drawing/2014/main" id="{16B4F461-2060-413E-808D-E855E93AE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2" y="4041"/>
                <a:ext cx="61" cy="42"/>
              </a:xfrm>
              <a:custGeom>
                <a:avLst/>
                <a:gdLst>
                  <a:gd name="T0" fmla="*/ 17 w 55"/>
                  <a:gd name="T1" fmla="*/ 9 h 37"/>
                  <a:gd name="T2" fmla="*/ 2 w 55"/>
                  <a:gd name="T3" fmla="*/ 12 h 37"/>
                  <a:gd name="T4" fmla="*/ 0 w 55"/>
                  <a:gd name="T5" fmla="*/ 25 h 37"/>
                  <a:gd name="T6" fmla="*/ 3 w 55"/>
                  <a:gd name="T7" fmla="*/ 36 h 37"/>
                  <a:gd name="T8" fmla="*/ 14 w 55"/>
                  <a:gd name="T9" fmla="*/ 25 h 37"/>
                  <a:gd name="T10" fmla="*/ 21 w 55"/>
                  <a:gd name="T11" fmla="*/ 30 h 37"/>
                  <a:gd name="T12" fmla="*/ 42 w 55"/>
                  <a:gd name="T13" fmla="*/ 24 h 37"/>
                  <a:gd name="T14" fmla="*/ 54 w 55"/>
                  <a:gd name="T15" fmla="*/ 18 h 37"/>
                  <a:gd name="T16" fmla="*/ 39 w 55"/>
                  <a:gd name="T17" fmla="*/ 9 h 37"/>
                  <a:gd name="T18" fmla="*/ 31 w 55"/>
                  <a:gd name="T19" fmla="*/ 0 h 37"/>
                  <a:gd name="T20" fmla="*/ 29 w 55"/>
                  <a:gd name="T21" fmla="*/ 11 h 37"/>
                  <a:gd name="T22" fmla="*/ 17 w 55"/>
                  <a:gd name="T23" fmla="*/ 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5" h="37">
                    <a:moveTo>
                      <a:pt x="17" y="9"/>
                    </a:moveTo>
                    <a:lnTo>
                      <a:pt x="2" y="12"/>
                    </a:lnTo>
                    <a:lnTo>
                      <a:pt x="0" y="25"/>
                    </a:lnTo>
                    <a:lnTo>
                      <a:pt x="3" y="36"/>
                    </a:lnTo>
                    <a:lnTo>
                      <a:pt x="14" y="25"/>
                    </a:lnTo>
                    <a:lnTo>
                      <a:pt x="21" y="30"/>
                    </a:lnTo>
                    <a:lnTo>
                      <a:pt x="42" y="24"/>
                    </a:lnTo>
                    <a:lnTo>
                      <a:pt x="54" y="18"/>
                    </a:lnTo>
                    <a:lnTo>
                      <a:pt x="39" y="9"/>
                    </a:lnTo>
                    <a:lnTo>
                      <a:pt x="31" y="0"/>
                    </a:lnTo>
                    <a:lnTo>
                      <a:pt x="29" y="11"/>
                    </a:lnTo>
                    <a:lnTo>
                      <a:pt x="17" y="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0" name="Freeform 67">
                <a:extLst>
                  <a:ext uri="{FF2B5EF4-FFF2-40B4-BE49-F238E27FC236}">
                    <a16:creationId xmlns:a16="http://schemas.microsoft.com/office/drawing/2014/main" id="{F4AFAB38-3502-4252-AF63-DDA0DAB75F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0" y="1562"/>
                <a:ext cx="41" cy="20"/>
              </a:xfrm>
              <a:custGeom>
                <a:avLst/>
                <a:gdLst>
                  <a:gd name="T0" fmla="*/ 10 w 36"/>
                  <a:gd name="T1" fmla="*/ 0 h 18"/>
                  <a:gd name="T2" fmla="*/ 0 w 36"/>
                  <a:gd name="T3" fmla="*/ 17 h 18"/>
                  <a:gd name="T4" fmla="*/ 17 w 36"/>
                  <a:gd name="T5" fmla="*/ 17 h 18"/>
                  <a:gd name="T6" fmla="*/ 35 w 36"/>
                  <a:gd name="T7" fmla="*/ 10 h 18"/>
                  <a:gd name="T8" fmla="*/ 10 w 36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8">
                    <a:moveTo>
                      <a:pt x="10" y="0"/>
                    </a:moveTo>
                    <a:lnTo>
                      <a:pt x="0" y="17"/>
                    </a:lnTo>
                    <a:lnTo>
                      <a:pt x="17" y="17"/>
                    </a:lnTo>
                    <a:lnTo>
                      <a:pt x="35" y="10"/>
                    </a:lnTo>
                    <a:lnTo>
                      <a:pt x="10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1" name="Freeform 68">
                <a:extLst>
                  <a:ext uri="{FF2B5EF4-FFF2-40B4-BE49-F238E27FC236}">
                    <a16:creationId xmlns:a16="http://schemas.microsoft.com/office/drawing/2014/main" id="{7E8F7562-8A0B-44B5-96A0-10BF621355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" y="1531"/>
                <a:ext cx="534" cy="439"/>
              </a:xfrm>
              <a:custGeom>
                <a:avLst/>
                <a:gdLst>
                  <a:gd name="T0" fmla="*/ 229 w 476"/>
                  <a:gd name="T1" fmla="*/ 10 h 391"/>
                  <a:gd name="T2" fmla="*/ 191 w 476"/>
                  <a:gd name="T3" fmla="*/ 25 h 391"/>
                  <a:gd name="T4" fmla="*/ 143 w 476"/>
                  <a:gd name="T5" fmla="*/ 55 h 391"/>
                  <a:gd name="T6" fmla="*/ 88 w 476"/>
                  <a:gd name="T7" fmla="*/ 75 h 391"/>
                  <a:gd name="T8" fmla="*/ 158 w 476"/>
                  <a:gd name="T9" fmla="*/ 112 h 391"/>
                  <a:gd name="T10" fmla="*/ 108 w 476"/>
                  <a:gd name="T11" fmla="*/ 122 h 391"/>
                  <a:gd name="T12" fmla="*/ 83 w 476"/>
                  <a:gd name="T13" fmla="*/ 115 h 391"/>
                  <a:gd name="T14" fmla="*/ 58 w 476"/>
                  <a:gd name="T15" fmla="*/ 125 h 391"/>
                  <a:gd name="T16" fmla="*/ 66 w 476"/>
                  <a:gd name="T17" fmla="*/ 143 h 391"/>
                  <a:gd name="T18" fmla="*/ 74 w 476"/>
                  <a:gd name="T19" fmla="*/ 165 h 391"/>
                  <a:gd name="T20" fmla="*/ 123 w 476"/>
                  <a:gd name="T21" fmla="*/ 153 h 391"/>
                  <a:gd name="T22" fmla="*/ 121 w 476"/>
                  <a:gd name="T23" fmla="*/ 167 h 391"/>
                  <a:gd name="T24" fmla="*/ 96 w 476"/>
                  <a:gd name="T25" fmla="*/ 185 h 391"/>
                  <a:gd name="T26" fmla="*/ 79 w 476"/>
                  <a:gd name="T27" fmla="*/ 190 h 391"/>
                  <a:gd name="T28" fmla="*/ 56 w 476"/>
                  <a:gd name="T29" fmla="*/ 215 h 391"/>
                  <a:gd name="T30" fmla="*/ 43 w 476"/>
                  <a:gd name="T31" fmla="*/ 238 h 391"/>
                  <a:gd name="T32" fmla="*/ 38 w 476"/>
                  <a:gd name="T33" fmla="*/ 253 h 391"/>
                  <a:gd name="T34" fmla="*/ 66 w 476"/>
                  <a:gd name="T35" fmla="*/ 265 h 391"/>
                  <a:gd name="T36" fmla="*/ 74 w 476"/>
                  <a:gd name="T37" fmla="*/ 273 h 391"/>
                  <a:gd name="T38" fmla="*/ 68 w 476"/>
                  <a:gd name="T39" fmla="*/ 301 h 391"/>
                  <a:gd name="T40" fmla="*/ 98 w 476"/>
                  <a:gd name="T41" fmla="*/ 299 h 391"/>
                  <a:gd name="T42" fmla="*/ 119 w 476"/>
                  <a:gd name="T43" fmla="*/ 316 h 391"/>
                  <a:gd name="T44" fmla="*/ 20 w 476"/>
                  <a:gd name="T45" fmla="*/ 373 h 391"/>
                  <a:gd name="T46" fmla="*/ 1 w 476"/>
                  <a:gd name="T47" fmla="*/ 390 h 391"/>
                  <a:gd name="T48" fmla="*/ 138 w 476"/>
                  <a:gd name="T49" fmla="*/ 330 h 391"/>
                  <a:gd name="T50" fmla="*/ 157 w 476"/>
                  <a:gd name="T51" fmla="*/ 315 h 391"/>
                  <a:gd name="T52" fmla="*/ 174 w 476"/>
                  <a:gd name="T53" fmla="*/ 289 h 391"/>
                  <a:gd name="T54" fmla="*/ 223 w 476"/>
                  <a:gd name="T55" fmla="*/ 235 h 391"/>
                  <a:gd name="T56" fmla="*/ 209 w 476"/>
                  <a:gd name="T57" fmla="*/ 268 h 391"/>
                  <a:gd name="T58" fmla="*/ 206 w 476"/>
                  <a:gd name="T59" fmla="*/ 285 h 391"/>
                  <a:gd name="T60" fmla="*/ 221 w 476"/>
                  <a:gd name="T61" fmla="*/ 293 h 391"/>
                  <a:gd name="T62" fmla="*/ 229 w 476"/>
                  <a:gd name="T63" fmla="*/ 291 h 391"/>
                  <a:gd name="T64" fmla="*/ 236 w 476"/>
                  <a:gd name="T65" fmla="*/ 285 h 391"/>
                  <a:gd name="T66" fmla="*/ 244 w 476"/>
                  <a:gd name="T67" fmla="*/ 278 h 391"/>
                  <a:gd name="T68" fmla="*/ 249 w 476"/>
                  <a:gd name="T69" fmla="*/ 271 h 391"/>
                  <a:gd name="T70" fmla="*/ 251 w 476"/>
                  <a:gd name="T71" fmla="*/ 268 h 391"/>
                  <a:gd name="T72" fmla="*/ 264 w 476"/>
                  <a:gd name="T73" fmla="*/ 260 h 391"/>
                  <a:gd name="T74" fmla="*/ 285 w 476"/>
                  <a:gd name="T75" fmla="*/ 238 h 391"/>
                  <a:gd name="T76" fmla="*/ 303 w 476"/>
                  <a:gd name="T77" fmla="*/ 249 h 391"/>
                  <a:gd name="T78" fmla="*/ 347 w 476"/>
                  <a:gd name="T79" fmla="*/ 264 h 391"/>
                  <a:gd name="T80" fmla="*/ 353 w 476"/>
                  <a:gd name="T81" fmla="*/ 276 h 391"/>
                  <a:gd name="T82" fmla="*/ 370 w 476"/>
                  <a:gd name="T83" fmla="*/ 291 h 391"/>
                  <a:gd name="T84" fmla="*/ 385 w 476"/>
                  <a:gd name="T85" fmla="*/ 301 h 391"/>
                  <a:gd name="T86" fmla="*/ 403 w 476"/>
                  <a:gd name="T87" fmla="*/ 297 h 391"/>
                  <a:gd name="T88" fmla="*/ 417 w 476"/>
                  <a:gd name="T89" fmla="*/ 312 h 391"/>
                  <a:gd name="T90" fmla="*/ 429 w 476"/>
                  <a:gd name="T91" fmla="*/ 308 h 391"/>
                  <a:gd name="T92" fmla="*/ 428 w 476"/>
                  <a:gd name="T93" fmla="*/ 328 h 391"/>
                  <a:gd name="T94" fmla="*/ 443 w 476"/>
                  <a:gd name="T95" fmla="*/ 336 h 391"/>
                  <a:gd name="T96" fmla="*/ 454 w 476"/>
                  <a:gd name="T97" fmla="*/ 354 h 391"/>
                  <a:gd name="T98" fmla="*/ 475 w 476"/>
                  <a:gd name="T99" fmla="*/ 344 h 391"/>
                  <a:gd name="T100" fmla="*/ 450 w 476"/>
                  <a:gd name="T101" fmla="*/ 315 h 391"/>
                  <a:gd name="T102" fmla="*/ 439 w 476"/>
                  <a:gd name="T103" fmla="*/ 294 h 391"/>
                  <a:gd name="T104" fmla="*/ 409 w 476"/>
                  <a:gd name="T105" fmla="*/ 268 h 391"/>
                  <a:gd name="T106" fmla="*/ 398 w 476"/>
                  <a:gd name="T107" fmla="*/ 279 h 391"/>
                  <a:gd name="T108" fmla="*/ 382 w 476"/>
                  <a:gd name="T109" fmla="*/ 279 h 391"/>
                  <a:gd name="T110" fmla="*/ 372 w 476"/>
                  <a:gd name="T111" fmla="*/ 255 h 391"/>
                  <a:gd name="T112" fmla="*/ 423 w 476"/>
                  <a:gd name="T113" fmla="*/ 40 h 391"/>
                  <a:gd name="T114" fmla="*/ 373 w 476"/>
                  <a:gd name="T115" fmla="*/ 30 h 391"/>
                  <a:gd name="T116" fmla="*/ 348 w 476"/>
                  <a:gd name="T117" fmla="*/ 21 h 391"/>
                  <a:gd name="T118" fmla="*/ 288 w 476"/>
                  <a:gd name="T119" fmla="*/ 4 h 391"/>
                  <a:gd name="T120" fmla="*/ 251 w 476"/>
                  <a:gd name="T121" fmla="*/ 15 h 391"/>
                  <a:gd name="T122" fmla="*/ 240 w 476"/>
                  <a:gd name="T123" fmla="*/ 0 h 3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76" h="391">
                    <a:moveTo>
                      <a:pt x="240" y="0"/>
                    </a:moveTo>
                    <a:lnTo>
                      <a:pt x="229" y="10"/>
                    </a:lnTo>
                    <a:lnTo>
                      <a:pt x="198" y="10"/>
                    </a:lnTo>
                    <a:lnTo>
                      <a:pt x="191" y="25"/>
                    </a:lnTo>
                    <a:lnTo>
                      <a:pt x="156" y="27"/>
                    </a:lnTo>
                    <a:lnTo>
                      <a:pt x="143" y="55"/>
                    </a:lnTo>
                    <a:lnTo>
                      <a:pt x="93" y="63"/>
                    </a:lnTo>
                    <a:lnTo>
                      <a:pt x="88" y="75"/>
                    </a:lnTo>
                    <a:lnTo>
                      <a:pt x="115" y="95"/>
                    </a:lnTo>
                    <a:lnTo>
                      <a:pt x="158" y="112"/>
                    </a:lnTo>
                    <a:lnTo>
                      <a:pt x="128" y="117"/>
                    </a:lnTo>
                    <a:lnTo>
                      <a:pt x="108" y="122"/>
                    </a:lnTo>
                    <a:lnTo>
                      <a:pt x="98" y="110"/>
                    </a:lnTo>
                    <a:lnTo>
                      <a:pt x="83" y="115"/>
                    </a:lnTo>
                    <a:lnTo>
                      <a:pt x="83" y="122"/>
                    </a:lnTo>
                    <a:lnTo>
                      <a:pt x="58" y="125"/>
                    </a:lnTo>
                    <a:lnTo>
                      <a:pt x="51" y="135"/>
                    </a:lnTo>
                    <a:lnTo>
                      <a:pt x="66" y="143"/>
                    </a:lnTo>
                    <a:lnTo>
                      <a:pt x="64" y="158"/>
                    </a:lnTo>
                    <a:lnTo>
                      <a:pt x="74" y="165"/>
                    </a:lnTo>
                    <a:lnTo>
                      <a:pt x="103" y="165"/>
                    </a:lnTo>
                    <a:lnTo>
                      <a:pt x="123" y="153"/>
                    </a:lnTo>
                    <a:lnTo>
                      <a:pt x="130" y="160"/>
                    </a:lnTo>
                    <a:lnTo>
                      <a:pt x="121" y="167"/>
                    </a:lnTo>
                    <a:lnTo>
                      <a:pt x="119" y="185"/>
                    </a:lnTo>
                    <a:lnTo>
                      <a:pt x="96" y="185"/>
                    </a:lnTo>
                    <a:lnTo>
                      <a:pt x="91" y="200"/>
                    </a:lnTo>
                    <a:lnTo>
                      <a:pt x="79" y="190"/>
                    </a:lnTo>
                    <a:lnTo>
                      <a:pt x="58" y="200"/>
                    </a:lnTo>
                    <a:lnTo>
                      <a:pt x="56" y="215"/>
                    </a:lnTo>
                    <a:lnTo>
                      <a:pt x="36" y="225"/>
                    </a:lnTo>
                    <a:lnTo>
                      <a:pt x="43" y="238"/>
                    </a:lnTo>
                    <a:lnTo>
                      <a:pt x="56" y="242"/>
                    </a:lnTo>
                    <a:lnTo>
                      <a:pt x="38" y="253"/>
                    </a:lnTo>
                    <a:lnTo>
                      <a:pt x="51" y="268"/>
                    </a:lnTo>
                    <a:lnTo>
                      <a:pt x="66" y="265"/>
                    </a:lnTo>
                    <a:lnTo>
                      <a:pt x="74" y="253"/>
                    </a:lnTo>
                    <a:lnTo>
                      <a:pt x="74" y="273"/>
                    </a:lnTo>
                    <a:lnTo>
                      <a:pt x="66" y="285"/>
                    </a:lnTo>
                    <a:lnTo>
                      <a:pt x="68" y="301"/>
                    </a:lnTo>
                    <a:lnTo>
                      <a:pt x="91" y="293"/>
                    </a:lnTo>
                    <a:lnTo>
                      <a:pt x="98" y="299"/>
                    </a:lnTo>
                    <a:lnTo>
                      <a:pt x="115" y="293"/>
                    </a:lnTo>
                    <a:lnTo>
                      <a:pt x="119" y="316"/>
                    </a:lnTo>
                    <a:lnTo>
                      <a:pt x="61" y="354"/>
                    </a:lnTo>
                    <a:lnTo>
                      <a:pt x="20" y="373"/>
                    </a:lnTo>
                    <a:lnTo>
                      <a:pt x="0" y="382"/>
                    </a:lnTo>
                    <a:lnTo>
                      <a:pt x="1" y="390"/>
                    </a:lnTo>
                    <a:lnTo>
                      <a:pt x="68" y="377"/>
                    </a:lnTo>
                    <a:lnTo>
                      <a:pt x="138" y="330"/>
                    </a:lnTo>
                    <a:lnTo>
                      <a:pt x="146" y="323"/>
                    </a:lnTo>
                    <a:lnTo>
                      <a:pt x="157" y="315"/>
                    </a:lnTo>
                    <a:lnTo>
                      <a:pt x="177" y="302"/>
                    </a:lnTo>
                    <a:lnTo>
                      <a:pt x="174" y="289"/>
                    </a:lnTo>
                    <a:lnTo>
                      <a:pt x="196" y="268"/>
                    </a:lnTo>
                    <a:lnTo>
                      <a:pt x="223" y="235"/>
                    </a:lnTo>
                    <a:lnTo>
                      <a:pt x="247" y="241"/>
                    </a:lnTo>
                    <a:lnTo>
                      <a:pt x="209" y="268"/>
                    </a:lnTo>
                    <a:lnTo>
                      <a:pt x="216" y="278"/>
                    </a:lnTo>
                    <a:lnTo>
                      <a:pt x="206" y="285"/>
                    </a:lnTo>
                    <a:lnTo>
                      <a:pt x="217" y="293"/>
                    </a:lnTo>
                    <a:lnTo>
                      <a:pt x="221" y="293"/>
                    </a:lnTo>
                    <a:lnTo>
                      <a:pt x="225" y="292"/>
                    </a:lnTo>
                    <a:lnTo>
                      <a:pt x="229" y="291"/>
                    </a:lnTo>
                    <a:lnTo>
                      <a:pt x="233" y="288"/>
                    </a:lnTo>
                    <a:lnTo>
                      <a:pt x="236" y="285"/>
                    </a:lnTo>
                    <a:lnTo>
                      <a:pt x="240" y="281"/>
                    </a:lnTo>
                    <a:lnTo>
                      <a:pt x="244" y="278"/>
                    </a:lnTo>
                    <a:lnTo>
                      <a:pt x="246" y="274"/>
                    </a:lnTo>
                    <a:lnTo>
                      <a:pt x="249" y="271"/>
                    </a:lnTo>
                    <a:lnTo>
                      <a:pt x="251" y="269"/>
                    </a:lnTo>
                    <a:lnTo>
                      <a:pt x="251" y="268"/>
                    </a:lnTo>
                    <a:lnTo>
                      <a:pt x="251" y="267"/>
                    </a:lnTo>
                    <a:lnTo>
                      <a:pt x="264" y="260"/>
                    </a:lnTo>
                    <a:lnTo>
                      <a:pt x="267" y="244"/>
                    </a:lnTo>
                    <a:lnTo>
                      <a:pt x="285" y="238"/>
                    </a:lnTo>
                    <a:lnTo>
                      <a:pt x="290" y="247"/>
                    </a:lnTo>
                    <a:lnTo>
                      <a:pt x="303" y="249"/>
                    </a:lnTo>
                    <a:lnTo>
                      <a:pt x="303" y="261"/>
                    </a:lnTo>
                    <a:lnTo>
                      <a:pt x="347" y="264"/>
                    </a:lnTo>
                    <a:lnTo>
                      <a:pt x="351" y="268"/>
                    </a:lnTo>
                    <a:lnTo>
                      <a:pt x="353" y="276"/>
                    </a:lnTo>
                    <a:lnTo>
                      <a:pt x="368" y="280"/>
                    </a:lnTo>
                    <a:lnTo>
                      <a:pt x="370" y="291"/>
                    </a:lnTo>
                    <a:lnTo>
                      <a:pt x="382" y="290"/>
                    </a:lnTo>
                    <a:lnTo>
                      <a:pt x="385" y="301"/>
                    </a:lnTo>
                    <a:lnTo>
                      <a:pt x="397" y="307"/>
                    </a:lnTo>
                    <a:lnTo>
                      <a:pt x="403" y="297"/>
                    </a:lnTo>
                    <a:lnTo>
                      <a:pt x="409" y="307"/>
                    </a:lnTo>
                    <a:lnTo>
                      <a:pt x="417" y="312"/>
                    </a:lnTo>
                    <a:lnTo>
                      <a:pt x="423" y="307"/>
                    </a:lnTo>
                    <a:lnTo>
                      <a:pt x="429" y="308"/>
                    </a:lnTo>
                    <a:lnTo>
                      <a:pt x="428" y="315"/>
                    </a:lnTo>
                    <a:lnTo>
                      <a:pt x="428" y="328"/>
                    </a:lnTo>
                    <a:lnTo>
                      <a:pt x="434" y="335"/>
                    </a:lnTo>
                    <a:lnTo>
                      <a:pt x="443" y="336"/>
                    </a:lnTo>
                    <a:lnTo>
                      <a:pt x="443" y="348"/>
                    </a:lnTo>
                    <a:lnTo>
                      <a:pt x="454" y="354"/>
                    </a:lnTo>
                    <a:lnTo>
                      <a:pt x="465" y="354"/>
                    </a:lnTo>
                    <a:lnTo>
                      <a:pt x="475" y="344"/>
                    </a:lnTo>
                    <a:lnTo>
                      <a:pt x="456" y="339"/>
                    </a:lnTo>
                    <a:lnTo>
                      <a:pt x="450" y="315"/>
                    </a:lnTo>
                    <a:lnTo>
                      <a:pt x="443" y="312"/>
                    </a:lnTo>
                    <a:lnTo>
                      <a:pt x="439" y="294"/>
                    </a:lnTo>
                    <a:lnTo>
                      <a:pt x="417" y="270"/>
                    </a:lnTo>
                    <a:lnTo>
                      <a:pt x="409" y="268"/>
                    </a:lnTo>
                    <a:lnTo>
                      <a:pt x="406" y="279"/>
                    </a:lnTo>
                    <a:lnTo>
                      <a:pt x="398" y="279"/>
                    </a:lnTo>
                    <a:lnTo>
                      <a:pt x="395" y="287"/>
                    </a:lnTo>
                    <a:lnTo>
                      <a:pt x="382" y="279"/>
                    </a:lnTo>
                    <a:lnTo>
                      <a:pt x="378" y="260"/>
                    </a:lnTo>
                    <a:lnTo>
                      <a:pt x="372" y="255"/>
                    </a:lnTo>
                    <a:lnTo>
                      <a:pt x="359" y="260"/>
                    </a:lnTo>
                    <a:lnTo>
                      <a:pt x="423" y="40"/>
                    </a:lnTo>
                    <a:lnTo>
                      <a:pt x="408" y="26"/>
                    </a:lnTo>
                    <a:lnTo>
                      <a:pt x="373" y="30"/>
                    </a:lnTo>
                    <a:lnTo>
                      <a:pt x="358" y="31"/>
                    </a:lnTo>
                    <a:lnTo>
                      <a:pt x="348" y="21"/>
                    </a:lnTo>
                    <a:lnTo>
                      <a:pt x="303" y="25"/>
                    </a:lnTo>
                    <a:lnTo>
                      <a:pt x="288" y="4"/>
                    </a:lnTo>
                    <a:lnTo>
                      <a:pt x="273" y="18"/>
                    </a:lnTo>
                    <a:lnTo>
                      <a:pt x="251" y="15"/>
                    </a:lnTo>
                    <a:lnTo>
                      <a:pt x="251" y="1"/>
                    </a:lnTo>
                    <a:lnTo>
                      <a:pt x="240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2" name="Freeform 69">
                <a:extLst>
                  <a:ext uri="{FF2B5EF4-FFF2-40B4-BE49-F238E27FC236}">
                    <a16:creationId xmlns:a16="http://schemas.microsoft.com/office/drawing/2014/main" id="{620F3EAC-40F3-4645-ADB1-3F9DC15A37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" y="2086"/>
                <a:ext cx="905" cy="505"/>
              </a:xfrm>
              <a:custGeom>
                <a:avLst/>
                <a:gdLst>
                  <a:gd name="T0" fmla="*/ 488 w 905"/>
                  <a:gd name="T1" fmla="*/ 10 h 505"/>
                  <a:gd name="T2" fmla="*/ 531 w 905"/>
                  <a:gd name="T3" fmla="*/ 37 h 505"/>
                  <a:gd name="T4" fmla="*/ 583 w 905"/>
                  <a:gd name="T5" fmla="*/ 26 h 505"/>
                  <a:gd name="T6" fmla="*/ 622 w 905"/>
                  <a:gd name="T7" fmla="*/ 53 h 505"/>
                  <a:gd name="T8" fmla="*/ 576 w 905"/>
                  <a:gd name="T9" fmla="*/ 89 h 505"/>
                  <a:gd name="T10" fmla="*/ 579 w 905"/>
                  <a:gd name="T11" fmla="*/ 143 h 505"/>
                  <a:gd name="T12" fmla="*/ 603 w 905"/>
                  <a:gd name="T13" fmla="*/ 106 h 505"/>
                  <a:gd name="T14" fmla="*/ 622 w 905"/>
                  <a:gd name="T15" fmla="*/ 56 h 505"/>
                  <a:gd name="T16" fmla="*/ 657 w 905"/>
                  <a:gd name="T17" fmla="*/ 107 h 505"/>
                  <a:gd name="T18" fmla="*/ 643 w 905"/>
                  <a:gd name="T19" fmla="*/ 150 h 505"/>
                  <a:gd name="T20" fmla="*/ 716 w 905"/>
                  <a:gd name="T21" fmla="*/ 117 h 505"/>
                  <a:gd name="T22" fmla="*/ 772 w 905"/>
                  <a:gd name="T23" fmla="*/ 83 h 505"/>
                  <a:gd name="T24" fmla="*/ 858 w 905"/>
                  <a:gd name="T25" fmla="*/ 55 h 505"/>
                  <a:gd name="T26" fmla="*/ 894 w 905"/>
                  <a:gd name="T27" fmla="*/ 77 h 505"/>
                  <a:gd name="T28" fmla="*/ 881 w 905"/>
                  <a:gd name="T29" fmla="*/ 95 h 505"/>
                  <a:gd name="T30" fmla="*/ 860 w 905"/>
                  <a:gd name="T31" fmla="*/ 113 h 505"/>
                  <a:gd name="T32" fmla="*/ 839 w 905"/>
                  <a:gd name="T33" fmla="*/ 139 h 505"/>
                  <a:gd name="T34" fmla="*/ 807 w 905"/>
                  <a:gd name="T35" fmla="*/ 162 h 505"/>
                  <a:gd name="T36" fmla="*/ 778 w 905"/>
                  <a:gd name="T37" fmla="*/ 185 h 505"/>
                  <a:gd name="T38" fmla="*/ 754 w 905"/>
                  <a:gd name="T39" fmla="*/ 229 h 505"/>
                  <a:gd name="T40" fmla="*/ 749 w 905"/>
                  <a:gd name="T41" fmla="*/ 252 h 505"/>
                  <a:gd name="T42" fmla="*/ 733 w 905"/>
                  <a:gd name="T43" fmla="*/ 304 h 505"/>
                  <a:gd name="T44" fmla="*/ 689 w 905"/>
                  <a:gd name="T45" fmla="*/ 320 h 505"/>
                  <a:gd name="T46" fmla="*/ 658 w 905"/>
                  <a:gd name="T47" fmla="*/ 350 h 505"/>
                  <a:gd name="T48" fmla="*/ 652 w 905"/>
                  <a:gd name="T49" fmla="*/ 412 h 505"/>
                  <a:gd name="T50" fmla="*/ 665 w 905"/>
                  <a:gd name="T51" fmla="*/ 450 h 505"/>
                  <a:gd name="T52" fmla="*/ 656 w 905"/>
                  <a:gd name="T53" fmla="*/ 495 h 505"/>
                  <a:gd name="T54" fmla="*/ 624 w 905"/>
                  <a:gd name="T55" fmla="*/ 439 h 505"/>
                  <a:gd name="T56" fmla="*/ 598 w 905"/>
                  <a:gd name="T57" fmla="*/ 388 h 505"/>
                  <a:gd name="T58" fmla="*/ 528 w 905"/>
                  <a:gd name="T59" fmla="*/ 386 h 505"/>
                  <a:gd name="T60" fmla="*/ 506 w 905"/>
                  <a:gd name="T61" fmla="*/ 414 h 505"/>
                  <a:gd name="T62" fmla="*/ 473 w 905"/>
                  <a:gd name="T63" fmla="*/ 390 h 505"/>
                  <a:gd name="T64" fmla="*/ 449 w 905"/>
                  <a:gd name="T65" fmla="*/ 390 h 505"/>
                  <a:gd name="T66" fmla="*/ 418 w 905"/>
                  <a:gd name="T67" fmla="*/ 423 h 505"/>
                  <a:gd name="T68" fmla="*/ 384 w 905"/>
                  <a:gd name="T69" fmla="*/ 469 h 505"/>
                  <a:gd name="T70" fmla="*/ 342 w 905"/>
                  <a:gd name="T71" fmla="*/ 440 h 505"/>
                  <a:gd name="T72" fmla="*/ 311 w 905"/>
                  <a:gd name="T73" fmla="*/ 390 h 505"/>
                  <a:gd name="T74" fmla="*/ 281 w 905"/>
                  <a:gd name="T75" fmla="*/ 386 h 505"/>
                  <a:gd name="T76" fmla="*/ 256 w 905"/>
                  <a:gd name="T77" fmla="*/ 366 h 505"/>
                  <a:gd name="T78" fmla="*/ 226 w 905"/>
                  <a:gd name="T79" fmla="*/ 359 h 505"/>
                  <a:gd name="T80" fmla="*/ 181 w 905"/>
                  <a:gd name="T81" fmla="*/ 376 h 505"/>
                  <a:gd name="T82" fmla="*/ 125 w 905"/>
                  <a:gd name="T83" fmla="*/ 348 h 505"/>
                  <a:gd name="T84" fmla="*/ 86 w 905"/>
                  <a:gd name="T85" fmla="*/ 323 h 505"/>
                  <a:gd name="T86" fmla="*/ 37 w 905"/>
                  <a:gd name="T87" fmla="*/ 297 h 505"/>
                  <a:gd name="T88" fmla="*/ 21 w 905"/>
                  <a:gd name="T89" fmla="*/ 258 h 505"/>
                  <a:gd name="T90" fmla="*/ 3 w 905"/>
                  <a:gd name="T91" fmla="*/ 217 h 505"/>
                  <a:gd name="T92" fmla="*/ 3 w 905"/>
                  <a:gd name="T93" fmla="*/ 153 h 505"/>
                  <a:gd name="T94" fmla="*/ 8 w 905"/>
                  <a:gd name="T95" fmla="*/ 119 h 505"/>
                  <a:gd name="T96" fmla="*/ 25 w 905"/>
                  <a:gd name="T97" fmla="*/ 77 h 505"/>
                  <a:gd name="T98" fmla="*/ 28 w 905"/>
                  <a:gd name="T99" fmla="*/ 28 h 505"/>
                  <a:gd name="T100" fmla="*/ 53 w 905"/>
                  <a:gd name="T101" fmla="*/ 24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05" h="505">
                    <a:moveTo>
                      <a:pt x="63" y="1"/>
                    </a:moveTo>
                    <a:lnTo>
                      <a:pt x="489" y="0"/>
                    </a:lnTo>
                    <a:lnTo>
                      <a:pt x="488" y="10"/>
                    </a:lnTo>
                    <a:lnTo>
                      <a:pt x="518" y="10"/>
                    </a:lnTo>
                    <a:lnTo>
                      <a:pt x="562" y="16"/>
                    </a:lnTo>
                    <a:lnTo>
                      <a:pt x="531" y="37"/>
                    </a:lnTo>
                    <a:lnTo>
                      <a:pt x="531" y="50"/>
                    </a:lnTo>
                    <a:lnTo>
                      <a:pt x="558" y="58"/>
                    </a:lnTo>
                    <a:lnTo>
                      <a:pt x="583" y="26"/>
                    </a:lnTo>
                    <a:lnTo>
                      <a:pt x="585" y="32"/>
                    </a:lnTo>
                    <a:lnTo>
                      <a:pt x="616" y="37"/>
                    </a:lnTo>
                    <a:lnTo>
                      <a:pt x="622" y="53"/>
                    </a:lnTo>
                    <a:lnTo>
                      <a:pt x="596" y="53"/>
                    </a:lnTo>
                    <a:lnTo>
                      <a:pt x="577" y="71"/>
                    </a:lnTo>
                    <a:lnTo>
                      <a:pt x="576" y="89"/>
                    </a:lnTo>
                    <a:lnTo>
                      <a:pt x="589" y="77"/>
                    </a:lnTo>
                    <a:lnTo>
                      <a:pt x="580" y="110"/>
                    </a:lnTo>
                    <a:lnTo>
                      <a:pt x="579" y="143"/>
                    </a:lnTo>
                    <a:lnTo>
                      <a:pt x="594" y="163"/>
                    </a:lnTo>
                    <a:lnTo>
                      <a:pt x="613" y="145"/>
                    </a:lnTo>
                    <a:lnTo>
                      <a:pt x="603" y="106"/>
                    </a:lnTo>
                    <a:lnTo>
                      <a:pt x="604" y="85"/>
                    </a:lnTo>
                    <a:lnTo>
                      <a:pt x="622" y="76"/>
                    </a:lnTo>
                    <a:lnTo>
                      <a:pt x="622" y="56"/>
                    </a:lnTo>
                    <a:lnTo>
                      <a:pt x="649" y="86"/>
                    </a:lnTo>
                    <a:lnTo>
                      <a:pt x="643" y="115"/>
                    </a:lnTo>
                    <a:lnTo>
                      <a:pt x="657" y="107"/>
                    </a:lnTo>
                    <a:lnTo>
                      <a:pt x="664" y="118"/>
                    </a:lnTo>
                    <a:lnTo>
                      <a:pt x="652" y="138"/>
                    </a:lnTo>
                    <a:lnTo>
                      <a:pt x="643" y="150"/>
                    </a:lnTo>
                    <a:lnTo>
                      <a:pt x="668" y="160"/>
                    </a:lnTo>
                    <a:lnTo>
                      <a:pt x="702" y="130"/>
                    </a:lnTo>
                    <a:lnTo>
                      <a:pt x="716" y="117"/>
                    </a:lnTo>
                    <a:lnTo>
                      <a:pt x="753" y="119"/>
                    </a:lnTo>
                    <a:lnTo>
                      <a:pt x="760" y="94"/>
                    </a:lnTo>
                    <a:lnTo>
                      <a:pt x="772" y="83"/>
                    </a:lnTo>
                    <a:lnTo>
                      <a:pt x="839" y="86"/>
                    </a:lnTo>
                    <a:lnTo>
                      <a:pt x="850" y="71"/>
                    </a:lnTo>
                    <a:lnTo>
                      <a:pt x="858" y="55"/>
                    </a:lnTo>
                    <a:lnTo>
                      <a:pt x="868" y="28"/>
                    </a:lnTo>
                    <a:lnTo>
                      <a:pt x="890" y="34"/>
                    </a:lnTo>
                    <a:lnTo>
                      <a:pt x="894" y="77"/>
                    </a:lnTo>
                    <a:lnTo>
                      <a:pt x="905" y="83"/>
                    </a:lnTo>
                    <a:lnTo>
                      <a:pt x="896" y="94"/>
                    </a:lnTo>
                    <a:lnTo>
                      <a:pt x="881" y="95"/>
                    </a:lnTo>
                    <a:lnTo>
                      <a:pt x="875" y="107"/>
                    </a:lnTo>
                    <a:lnTo>
                      <a:pt x="862" y="104"/>
                    </a:lnTo>
                    <a:lnTo>
                      <a:pt x="860" y="113"/>
                    </a:lnTo>
                    <a:lnTo>
                      <a:pt x="846" y="113"/>
                    </a:lnTo>
                    <a:lnTo>
                      <a:pt x="841" y="127"/>
                    </a:lnTo>
                    <a:lnTo>
                      <a:pt x="839" y="139"/>
                    </a:lnTo>
                    <a:lnTo>
                      <a:pt x="850" y="150"/>
                    </a:lnTo>
                    <a:lnTo>
                      <a:pt x="836" y="159"/>
                    </a:lnTo>
                    <a:lnTo>
                      <a:pt x="807" y="162"/>
                    </a:lnTo>
                    <a:lnTo>
                      <a:pt x="800" y="175"/>
                    </a:lnTo>
                    <a:lnTo>
                      <a:pt x="796" y="183"/>
                    </a:lnTo>
                    <a:lnTo>
                      <a:pt x="778" y="185"/>
                    </a:lnTo>
                    <a:lnTo>
                      <a:pt x="770" y="196"/>
                    </a:lnTo>
                    <a:lnTo>
                      <a:pt x="766" y="224"/>
                    </a:lnTo>
                    <a:lnTo>
                      <a:pt x="754" y="229"/>
                    </a:lnTo>
                    <a:lnTo>
                      <a:pt x="747" y="237"/>
                    </a:lnTo>
                    <a:lnTo>
                      <a:pt x="740" y="247"/>
                    </a:lnTo>
                    <a:lnTo>
                      <a:pt x="749" y="252"/>
                    </a:lnTo>
                    <a:lnTo>
                      <a:pt x="747" y="286"/>
                    </a:lnTo>
                    <a:lnTo>
                      <a:pt x="736" y="292"/>
                    </a:lnTo>
                    <a:lnTo>
                      <a:pt x="733" y="304"/>
                    </a:lnTo>
                    <a:lnTo>
                      <a:pt x="715" y="303"/>
                    </a:lnTo>
                    <a:lnTo>
                      <a:pt x="707" y="314"/>
                    </a:lnTo>
                    <a:lnTo>
                      <a:pt x="689" y="320"/>
                    </a:lnTo>
                    <a:lnTo>
                      <a:pt x="685" y="335"/>
                    </a:lnTo>
                    <a:lnTo>
                      <a:pt x="671" y="338"/>
                    </a:lnTo>
                    <a:lnTo>
                      <a:pt x="658" y="350"/>
                    </a:lnTo>
                    <a:lnTo>
                      <a:pt x="653" y="366"/>
                    </a:lnTo>
                    <a:lnTo>
                      <a:pt x="653" y="390"/>
                    </a:lnTo>
                    <a:lnTo>
                      <a:pt x="652" y="412"/>
                    </a:lnTo>
                    <a:lnTo>
                      <a:pt x="659" y="415"/>
                    </a:lnTo>
                    <a:lnTo>
                      <a:pt x="660" y="442"/>
                    </a:lnTo>
                    <a:lnTo>
                      <a:pt x="665" y="450"/>
                    </a:lnTo>
                    <a:lnTo>
                      <a:pt x="671" y="489"/>
                    </a:lnTo>
                    <a:lnTo>
                      <a:pt x="665" y="505"/>
                    </a:lnTo>
                    <a:lnTo>
                      <a:pt x="656" y="495"/>
                    </a:lnTo>
                    <a:lnTo>
                      <a:pt x="640" y="484"/>
                    </a:lnTo>
                    <a:lnTo>
                      <a:pt x="631" y="462"/>
                    </a:lnTo>
                    <a:lnTo>
                      <a:pt x="624" y="439"/>
                    </a:lnTo>
                    <a:lnTo>
                      <a:pt x="628" y="414"/>
                    </a:lnTo>
                    <a:lnTo>
                      <a:pt x="615" y="402"/>
                    </a:lnTo>
                    <a:lnTo>
                      <a:pt x="598" y="388"/>
                    </a:lnTo>
                    <a:lnTo>
                      <a:pt x="579" y="393"/>
                    </a:lnTo>
                    <a:lnTo>
                      <a:pt x="565" y="385"/>
                    </a:lnTo>
                    <a:lnTo>
                      <a:pt x="528" y="386"/>
                    </a:lnTo>
                    <a:lnTo>
                      <a:pt x="515" y="395"/>
                    </a:lnTo>
                    <a:lnTo>
                      <a:pt x="523" y="412"/>
                    </a:lnTo>
                    <a:lnTo>
                      <a:pt x="506" y="414"/>
                    </a:lnTo>
                    <a:lnTo>
                      <a:pt x="488" y="410"/>
                    </a:lnTo>
                    <a:lnTo>
                      <a:pt x="485" y="386"/>
                    </a:lnTo>
                    <a:lnTo>
                      <a:pt x="473" y="390"/>
                    </a:lnTo>
                    <a:lnTo>
                      <a:pt x="468" y="408"/>
                    </a:lnTo>
                    <a:lnTo>
                      <a:pt x="459" y="405"/>
                    </a:lnTo>
                    <a:lnTo>
                      <a:pt x="449" y="390"/>
                    </a:lnTo>
                    <a:lnTo>
                      <a:pt x="437" y="397"/>
                    </a:lnTo>
                    <a:lnTo>
                      <a:pt x="428" y="408"/>
                    </a:lnTo>
                    <a:lnTo>
                      <a:pt x="418" y="423"/>
                    </a:lnTo>
                    <a:lnTo>
                      <a:pt x="409" y="434"/>
                    </a:lnTo>
                    <a:lnTo>
                      <a:pt x="390" y="442"/>
                    </a:lnTo>
                    <a:lnTo>
                      <a:pt x="384" y="469"/>
                    </a:lnTo>
                    <a:lnTo>
                      <a:pt x="360" y="469"/>
                    </a:lnTo>
                    <a:lnTo>
                      <a:pt x="356" y="447"/>
                    </a:lnTo>
                    <a:lnTo>
                      <a:pt x="342" y="440"/>
                    </a:lnTo>
                    <a:lnTo>
                      <a:pt x="338" y="416"/>
                    </a:lnTo>
                    <a:lnTo>
                      <a:pt x="328" y="403"/>
                    </a:lnTo>
                    <a:lnTo>
                      <a:pt x="311" y="390"/>
                    </a:lnTo>
                    <a:lnTo>
                      <a:pt x="305" y="414"/>
                    </a:lnTo>
                    <a:lnTo>
                      <a:pt x="289" y="414"/>
                    </a:lnTo>
                    <a:lnTo>
                      <a:pt x="281" y="386"/>
                    </a:lnTo>
                    <a:lnTo>
                      <a:pt x="272" y="385"/>
                    </a:lnTo>
                    <a:lnTo>
                      <a:pt x="269" y="368"/>
                    </a:lnTo>
                    <a:lnTo>
                      <a:pt x="256" y="366"/>
                    </a:lnTo>
                    <a:lnTo>
                      <a:pt x="251" y="348"/>
                    </a:lnTo>
                    <a:lnTo>
                      <a:pt x="240" y="357"/>
                    </a:lnTo>
                    <a:lnTo>
                      <a:pt x="226" y="359"/>
                    </a:lnTo>
                    <a:lnTo>
                      <a:pt x="222" y="368"/>
                    </a:lnTo>
                    <a:lnTo>
                      <a:pt x="199" y="368"/>
                    </a:lnTo>
                    <a:lnTo>
                      <a:pt x="181" y="376"/>
                    </a:lnTo>
                    <a:lnTo>
                      <a:pt x="156" y="370"/>
                    </a:lnTo>
                    <a:lnTo>
                      <a:pt x="139" y="353"/>
                    </a:lnTo>
                    <a:lnTo>
                      <a:pt x="125" y="348"/>
                    </a:lnTo>
                    <a:lnTo>
                      <a:pt x="120" y="338"/>
                    </a:lnTo>
                    <a:lnTo>
                      <a:pt x="85" y="335"/>
                    </a:lnTo>
                    <a:lnTo>
                      <a:pt x="86" y="323"/>
                    </a:lnTo>
                    <a:lnTo>
                      <a:pt x="65" y="315"/>
                    </a:lnTo>
                    <a:lnTo>
                      <a:pt x="52" y="304"/>
                    </a:lnTo>
                    <a:lnTo>
                      <a:pt x="37" y="297"/>
                    </a:lnTo>
                    <a:lnTo>
                      <a:pt x="39" y="274"/>
                    </a:lnTo>
                    <a:lnTo>
                      <a:pt x="20" y="270"/>
                    </a:lnTo>
                    <a:lnTo>
                      <a:pt x="21" y="258"/>
                    </a:lnTo>
                    <a:lnTo>
                      <a:pt x="27" y="243"/>
                    </a:lnTo>
                    <a:lnTo>
                      <a:pt x="16" y="230"/>
                    </a:lnTo>
                    <a:lnTo>
                      <a:pt x="3" y="217"/>
                    </a:lnTo>
                    <a:lnTo>
                      <a:pt x="0" y="168"/>
                    </a:lnTo>
                    <a:lnTo>
                      <a:pt x="9" y="160"/>
                    </a:lnTo>
                    <a:lnTo>
                      <a:pt x="3" y="153"/>
                    </a:lnTo>
                    <a:lnTo>
                      <a:pt x="1" y="145"/>
                    </a:lnTo>
                    <a:lnTo>
                      <a:pt x="6" y="137"/>
                    </a:lnTo>
                    <a:lnTo>
                      <a:pt x="8" y="119"/>
                    </a:lnTo>
                    <a:lnTo>
                      <a:pt x="16" y="113"/>
                    </a:lnTo>
                    <a:lnTo>
                      <a:pt x="16" y="85"/>
                    </a:lnTo>
                    <a:lnTo>
                      <a:pt x="25" y="77"/>
                    </a:lnTo>
                    <a:lnTo>
                      <a:pt x="33" y="46"/>
                    </a:lnTo>
                    <a:lnTo>
                      <a:pt x="40" y="43"/>
                    </a:lnTo>
                    <a:lnTo>
                      <a:pt x="28" y="28"/>
                    </a:lnTo>
                    <a:lnTo>
                      <a:pt x="28" y="16"/>
                    </a:lnTo>
                    <a:lnTo>
                      <a:pt x="44" y="12"/>
                    </a:lnTo>
                    <a:lnTo>
                      <a:pt x="53" y="24"/>
                    </a:lnTo>
                    <a:lnTo>
                      <a:pt x="60" y="34"/>
                    </a:lnTo>
                    <a:lnTo>
                      <a:pt x="63" y="1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3" name="Freeform 70">
                <a:extLst>
                  <a:ext uri="{FF2B5EF4-FFF2-40B4-BE49-F238E27FC236}">
                    <a16:creationId xmlns:a16="http://schemas.microsoft.com/office/drawing/2014/main" id="{16F66DC8-91E5-4AA3-8F70-112A1F48DA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" y="1520"/>
                <a:ext cx="1226" cy="726"/>
              </a:xfrm>
              <a:custGeom>
                <a:avLst/>
                <a:gdLst>
                  <a:gd name="T0" fmla="*/ 1145 w 1226"/>
                  <a:gd name="T1" fmla="*/ 335 h 726"/>
                  <a:gd name="T2" fmla="*/ 1148 w 1226"/>
                  <a:gd name="T3" fmla="*/ 380 h 726"/>
                  <a:gd name="T4" fmla="*/ 1188 w 1226"/>
                  <a:gd name="T5" fmla="*/ 418 h 726"/>
                  <a:gd name="T6" fmla="*/ 1186 w 1226"/>
                  <a:gd name="T7" fmla="*/ 453 h 726"/>
                  <a:gd name="T8" fmla="*/ 1207 w 1226"/>
                  <a:gd name="T9" fmla="*/ 450 h 726"/>
                  <a:gd name="T10" fmla="*/ 1226 w 1226"/>
                  <a:gd name="T11" fmla="*/ 496 h 726"/>
                  <a:gd name="T12" fmla="*/ 1166 w 1226"/>
                  <a:gd name="T13" fmla="*/ 528 h 726"/>
                  <a:gd name="T14" fmla="*/ 1054 w 1226"/>
                  <a:gd name="T15" fmla="*/ 543 h 726"/>
                  <a:gd name="T16" fmla="*/ 1067 w 1226"/>
                  <a:gd name="T17" fmla="*/ 553 h 726"/>
                  <a:gd name="T18" fmla="*/ 1137 w 1226"/>
                  <a:gd name="T19" fmla="*/ 627 h 726"/>
                  <a:gd name="T20" fmla="*/ 1097 w 1226"/>
                  <a:gd name="T21" fmla="*/ 620 h 726"/>
                  <a:gd name="T22" fmla="*/ 1028 w 1226"/>
                  <a:gd name="T23" fmla="*/ 643 h 726"/>
                  <a:gd name="T24" fmla="*/ 985 w 1226"/>
                  <a:gd name="T25" fmla="*/ 636 h 726"/>
                  <a:gd name="T26" fmla="*/ 888 w 1226"/>
                  <a:gd name="T27" fmla="*/ 684 h 726"/>
                  <a:gd name="T28" fmla="*/ 778 w 1226"/>
                  <a:gd name="T29" fmla="*/ 717 h 726"/>
                  <a:gd name="T30" fmla="*/ 815 w 1226"/>
                  <a:gd name="T31" fmla="*/ 654 h 726"/>
                  <a:gd name="T32" fmla="*/ 752 w 1226"/>
                  <a:gd name="T33" fmla="*/ 564 h 726"/>
                  <a:gd name="T34" fmla="*/ 622 w 1226"/>
                  <a:gd name="T35" fmla="*/ 576 h 726"/>
                  <a:gd name="T36" fmla="*/ 156 w 1226"/>
                  <a:gd name="T37" fmla="*/ 525 h 726"/>
                  <a:gd name="T38" fmla="*/ 121 w 1226"/>
                  <a:gd name="T39" fmla="*/ 463 h 726"/>
                  <a:gd name="T40" fmla="*/ 119 w 1226"/>
                  <a:gd name="T41" fmla="*/ 408 h 726"/>
                  <a:gd name="T42" fmla="*/ 94 w 1226"/>
                  <a:gd name="T43" fmla="*/ 361 h 726"/>
                  <a:gd name="T44" fmla="*/ 53 w 1226"/>
                  <a:gd name="T45" fmla="*/ 324 h 726"/>
                  <a:gd name="T46" fmla="*/ 21 w 1226"/>
                  <a:gd name="T47" fmla="*/ 303 h 726"/>
                  <a:gd name="T48" fmla="*/ 118 w 1226"/>
                  <a:gd name="T49" fmla="*/ 65 h 726"/>
                  <a:gd name="T50" fmla="*/ 194 w 1226"/>
                  <a:gd name="T51" fmla="*/ 58 h 726"/>
                  <a:gd name="T52" fmla="*/ 247 w 1226"/>
                  <a:gd name="T53" fmla="*/ 57 h 726"/>
                  <a:gd name="T54" fmla="*/ 287 w 1226"/>
                  <a:gd name="T55" fmla="*/ 53 h 726"/>
                  <a:gd name="T56" fmla="*/ 340 w 1226"/>
                  <a:gd name="T57" fmla="*/ 52 h 726"/>
                  <a:gd name="T58" fmla="*/ 460 w 1226"/>
                  <a:gd name="T59" fmla="*/ 107 h 726"/>
                  <a:gd name="T60" fmla="*/ 542 w 1226"/>
                  <a:gd name="T61" fmla="*/ 107 h 726"/>
                  <a:gd name="T62" fmla="*/ 672 w 1226"/>
                  <a:gd name="T63" fmla="*/ 90 h 726"/>
                  <a:gd name="T64" fmla="*/ 737 w 1226"/>
                  <a:gd name="T65" fmla="*/ 84 h 726"/>
                  <a:gd name="T66" fmla="*/ 732 w 1226"/>
                  <a:gd name="T67" fmla="*/ 13 h 726"/>
                  <a:gd name="T68" fmla="*/ 773 w 1226"/>
                  <a:gd name="T69" fmla="*/ 53 h 726"/>
                  <a:gd name="T70" fmla="*/ 822 w 1226"/>
                  <a:gd name="T71" fmla="*/ 85 h 726"/>
                  <a:gd name="T72" fmla="*/ 860 w 1226"/>
                  <a:gd name="T73" fmla="*/ 79 h 726"/>
                  <a:gd name="T74" fmla="*/ 898 w 1226"/>
                  <a:gd name="T75" fmla="*/ 90 h 726"/>
                  <a:gd name="T76" fmla="*/ 830 w 1226"/>
                  <a:gd name="T77" fmla="*/ 137 h 726"/>
                  <a:gd name="T78" fmla="*/ 778 w 1226"/>
                  <a:gd name="T79" fmla="*/ 149 h 726"/>
                  <a:gd name="T80" fmla="*/ 785 w 1226"/>
                  <a:gd name="T81" fmla="*/ 205 h 726"/>
                  <a:gd name="T82" fmla="*/ 694 w 1226"/>
                  <a:gd name="T83" fmla="*/ 274 h 726"/>
                  <a:gd name="T84" fmla="*/ 701 w 1226"/>
                  <a:gd name="T85" fmla="*/ 374 h 726"/>
                  <a:gd name="T86" fmla="*/ 806 w 1226"/>
                  <a:gd name="T87" fmla="*/ 426 h 726"/>
                  <a:gd name="T88" fmla="*/ 841 w 1226"/>
                  <a:gd name="T89" fmla="*/ 512 h 726"/>
                  <a:gd name="T90" fmla="*/ 882 w 1226"/>
                  <a:gd name="T91" fmla="*/ 499 h 726"/>
                  <a:gd name="T92" fmla="*/ 914 w 1226"/>
                  <a:gd name="T93" fmla="*/ 414 h 726"/>
                  <a:gd name="T94" fmla="*/ 917 w 1226"/>
                  <a:gd name="T95" fmla="*/ 395 h 726"/>
                  <a:gd name="T96" fmla="*/ 917 w 1226"/>
                  <a:gd name="T97" fmla="*/ 358 h 726"/>
                  <a:gd name="T98" fmla="*/ 906 w 1226"/>
                  <a:gd name="T99" fmla="*/ 332 h 726"/>
                  <a:gd name="T100" fmla="*/ 926 w 1226"/>
                  <a:gd name="T101" fmla="*/ 257 h 726"/>
                  <a:gd name="T102" fmla="*/ 1017 w 1226"/>
                  <a:gd name="T103" fmla="*/ 259 h 726"/>
                  <a:gd name="T104" fmla="*/ 1046 w 1226"/>
                  <a:gd name="T105" fmla="*/ 340 h 726"/>
                  <a:gd name="T106" fmla="*/ 1119 w 1226"/>
                  <a:gd name="T107" fmla="*/ 301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26" h="726">
                    <a:moveTo>
                      <a:pt x="1119" y="301"/>
                    </a:moveTo>
                    <a:lnTo>
                      <a:pt x="1127" y="313"/>
                    </a:lnTo>
                    <a:lnTo>
                      <a:pt x="1132" y="335"/>
                    </a:lnTo>
                    <a:lnTo>
                      <a:pt x="1145" y="335"/>
                    </a:lnTo>
                    <a:lnTo>
                      <a:pt x="1148" y="364"/>
                    </a:lnTo>
                    <a:lnTo>
                      <a:pt x="1157" y="362"/>
                    </a:lnTo>
                    <a:lnTo>
                      <a:pt x="1157" y="375"/>
                    </a:lnTo>
                    <a:lnTo>
                      <a:pt x="1148" y="380"/>
                    </a:lnTo>
                    <a:lnTo>
                      <a:pt x="1150" y="392"/>
                    </a:lnTo>
                    <a:lnTo>
                      <a:pt x="1161" y="394"/>
                    </a:lnTo>
                    <a:lnTo>
                      <a:pt x="1166" y="421"/>
                    </a:lnTo>
                    <a:lnTo>
                      <a:pt x="1188" y="418"/>
                    </a:lnTo>
                    <a:lnTo>
                      <a:pt x="1186" y="430"/>
                    </a:lnTo>
                    <a:lnTo>
                      <a:pt x="1202" y="426"/>
                    </a:lnTo>
                    <a:lnTo>
                      <a:pt x="1191" y="442"/>
                    </a:lnTo>
                    <a:lnTo>
                      <a:pt x="1186" y="453"/>
                    </a:lnTo>
                    <a:lnTo>
                      <a:pt x="1164" y="459"/>
                    </a:lnTo>
                    <a:lnTo>
                      <a:pt x="1173" y="463"/>
                    </a:lnTo>
                    <a:lnTo>
                      <a:pt x="1191" y="459"/>
                    </a:lnTo>
                    <a:lnTo>
                      <a:pt x="1207" y="450"/>
                    </a:lnTo>
                    <a:lnTo>
                      <a:pt x="1221" y="451"/>
                    </a:lnTo>
                    <a:lnTo>
                      <a:pt x="1224" y="466"/>
                    </a:lnTo>
                    <a:lnTo>
                      <a:pt x="1224" y="485"/>
                    </a:lnTo>
                    <a:lnTo>
                      <a:pt x="1226" y="496"/>
                    </a:lnTo>
                    <a:lnTo>
                      <a:pt x="1224" y="505"/>
                    </a:lnTo>
                    <a:lnTo>
                      <a:pt x="1205" y="510"/>
                    </a:lnTo>
                    <a:lnTo>
                      <a:pt x="1188" y="508"/>
                    </a:lnTo>
                    <a:lnTo>
                      <a:pt x="1166" y="528"/>
                    </a:lnTo>
                    <a:lnTo>
                      <a:pt x="1128" y="533"/>
                    </a:lnTo>
                    <a:lnTo>
                      <a:pt x="1088" y="533"/>
                    </a:lnTo>
                    <a:lnTo>
                      <a:pt x="1069" y="530"/>
                    </a:lnTo>
                    <a:lnTo>
                      <a:pt x="1054" y="543"/>
                    </a:lnTo>
                    <a:lnTo>
                      <a:pt x="1034" y="553"/>
                    </a:lnTo>
                    <a:lnTo>
                      <a:pt x="1014" y="578"/>
                    </a:lnTo>
                    <a:lnTo>
                      <a:pt x="1048" y="563"/>
                    </a:lnTo>
                    <a:lnTo>
                      <a:pt x="1067" y="553"/>
                    </a:lnTo>
                    <a:lnTo>
                      <a:pt x="1087" y="565"/>
                    </a:lnTo>
                    <a:lnTo>
                      <a:pt x="1074" y="585"/>
                    </a:lnTo>
                    <a:lnTo>
                      <a:pt x="1092" y="605"/>
                    </a:lnTo>
                    <a:lnTo>
                      <a:pt x="1137" y="627"/>
                    </a:lnTo>
                    <a:lnTo>
                      <a:pt x="1097" y="648"/>
                    </a:lnTo>
                    <a:lnTo>
                      <a:pt x="1058" y="675"/>
                    </a:lnTo>
                    <a:lnTo>
                      <a:pt x="1049" y="665"/>
                    </a:lnTo>
                    <a:lnTo>
                      <a:pt x="1097" y="620"/>
                    </a:lnTo>
                    <a:lnTo>
                      <a:pt x="1094" y="614"/>
                    </a:lnTo>
                    <a:lnTo>
                      <a:pt x="1079" y="614"/>
                    </a:lnTo>
                    <a:lnTo>
                      <a:pt x="1040" y="648"/>
                    </a:lnTo>
                    <a:lnTo>
                      <a:pt x="1028" y="643"/>
                    </a:lnTo>
                    <a:lnTo>
                      <a:pt x="1025" y="599"/>
                    </a:lnTo>
                    <a:lnTo>
                      <a:pt x="1003" y="593"/>
                    </a:lnTo>
                    <a:lnTo>
                      <a:pt x="993" y="620"/>
                    </a:lnTo>
                    <a:lnTo>
                      <a:pt x="985" y="636"/>
                    </a:lnTo>
                    <a:lnTo>
                      <a:pt x="972" y="652"/>
                    </a:lnTo>
                    <a:lnTo>
                      <a:pt x="907" y="648"/>
                    </a:lnTo>
                    <a:lnTo>
                      <a:pt x="895" y="660"/>
                    </a:lnTo>
                    <a:lnTo>
                      <a:pt x="888" y="684"/>
                    </a:lnTo>
                    <a:lnTo>
                      <a:pt x="851" y="682"/>
                    </a:lnTo>
                    <a:lnTo>
                      <a:pt x="837" y="696"/>
                    </a:lnTo>
                    <a:lnTo>
                      <a:pt x="803" y="726"/>
                    </a:lnTo>
                    <a:lnTo>
                      <a:pt x="778" y="717"/>
                    </a:lnTo>
                    <a:lnTo>
                      <a:pt x="786" y="703"/>
                    </a:lnTo>
                    <a:lnTo>
                      <a:pt x="801" y="682"/>
                    </a:lnTo>
                    <a:lnTo>
                      <a:pt x="812" y="691"/>
                    </a:lnTo>
                    <a:lnTo>
                      <a:pt x="815" y="654"/>
                    </a:lnTo>
                    <a:lnTo>
                      <a:pt x="834" y="657"/>
                    </a:lnTo>
                    <a:lnTo>
                      <a:pt x="818" y="628"/>
                    </a:lnTo>
                    <a:lnTo>
                      <a:pt x="767" y="619"/>
                    </a:lnTo>
                    <a:lnTo>
                      <a:pt x="752" y="564"/>
                    </a:lnTo>
                    <a:lnTo>
                      <a:pt x="696" y="571"/>
                    </a:lnTo>
                    <a:lnTo>
                      <a:pt x="698" y="580"/>
                    </a:lnTo>
                    <a:lnTo>
                      <a:pt x="653" y="576"/>
                    </a:lnTo>
                    <a:lnTo>
                      <a:pt x="622" y="576"/>
                    </a:lnTo>
                    <a:lnTo>
                      <a:pt x="625" y="565"/>
                    </a:lnTo>
                    <a:lnTo>
                      <a:pt x="197" y="567"/>
                    </a:lnTo>
                    <a:lnTo>
                      <a:pt x="177" y="540"/>
                    </a:lnTo>
                    <a:lnTo>
                      <a:pt x="156" y="525"/>
                    </a:lnTo>
                    <a:lnTo>
                      <a:pt x="139" y="506"/>
                    </a:lnTo>
                    <a:lnTo>
                      <a:pt x="138" y="482"/>
                    </a:lnTo>
                    <a:lnTo>
                      <a:pt x="136" y="462"/>
                    </a:lnTo>
                    <a:lnTo>
                      <a:pt x="121" y="463"/>
                    </a:lnTo>
                    <a:lnTo>
                      <a:pt x="119" y="449"/>
                    </a:lnTo>
                    <a:lnTo>
                      <a:pt x="110" y="444"/>
                    </a:lnTo>
                    <a:lnTo>
                      <a:pt x="112" y="421"/>
                    </a:lnTo>
                    <a:lnTo>
                      <a:pt x="119" y="408"/>
                    </a:lnTo>
                    <a:lnTo>
                      <a:pt x="130" y="397"/>
                    </a:lnTo>
                    <a:lnTo>
                      <a:pt x="109" y="392"/>
                    </a:lnTo>
                    <a:lnTo>
                      <a:pt x="103" y="365"/>
                    </a:lnTo>
                    <a:lnTo>
                      <a:pt x="94" y="361"/>
                    </a:lnTo>
                    <a:lnTo>
                      <a:pt x="90" y="341"/>
                    </a:lnTo>
                    <a:lnTo>
                      <a:pt x="66" y="314"/>
                    </a:lnTo>
                    <a:lnTo>
                      <a:pt x="56" y="313"/>
                    </a:lnTo>
                    <a:lnTo>
                      <a:pt x="53" y="324"/>
                    </a:lnTo>
                    <a:lnTo>
                      <a:pt x="44" y="324"/>
                    </a:lnTo>
                    <a:lnTo>
                      <a:pt x="40" y="333"/>
                    </a:lnTo>
                    <a:lnTo>
                      <a:pt x="26" y="324"/>
                    </a:lnTo>
                    <a:lnTo>
                      <a:pt x="21" y="303"/>
                    </a:lnTo>
                    <a:lnTo>
                      <a:pt x="15" y="297"/>
                    </a:lnTo>
                    <a:lnTo>
                      <a:pt x="0" y="303"/>
                    </a:lnTo>
                    <a:lnTo>
                      <a:pt x="72" y="57"/>
                    </a:lnTo>
                    <a:lnTo>
                      <a:pt x="118" y="65"/>
                    </a:lnTo>
                    <a:lnTo>
                      <a:pt x="159" y="85"/>
                    </a:lnTo>
                    <a:lnTo>
                      <a:pt x="177" y="86"/>
                    </a:lnTo>
                    <a:lnTo>
                      <a:pt x="178" y="71"/>
                    </a:lnTo>
                    <a:lnTo>
                      <a:pt x="194" y="58"/>
                    </a:lnTo>
                    <a:lnTo>
                      <a:pt x="233" y="34"/>
                    </a:lnTo>
                    <a:lnTo>
                      <a:pt x="245" y="40"/>
                    </a:lnTo>
                    <a:lnTo>
                      <a:pt x="216" y="58"/>
                    </a:lnTo>
                    <a:lnTo>
                      <a:pt x="247" y="57"/>
                    </a:lnTo>
                    <a:lnTo>
                      <a:pt x="257" y="46"/>
                    </a:lnTo>
                    <a:lnTo>
                      <a:pt x="264" y="34"/>
                    </a:lnTo>
                    <a:lnTo>
                      <a:pt x="274" y="29"/>
                    </a:lnTo>
                    <a:lnTo>
                      <a:pt x="287" y="53"/>
                    </a:lnTo>
                    <a:lnTo>
                      <a:pt x="306" y="55"/>
                    </a:lnTo>
                    <a:lnTo>
                      <a:pt x="315" y="46"/>
                    </a:lnTo>
                    <a:lnTo>
                      <a:pt x="325" y="62"/>
                    </a:lnTo>
                    <a:lnTo>
                      <a:pt x="340" y="52"/>
                    </a:lnTo>
                    <a:lnTo>
                      <a:pt x="399" y="71"/>
                    </a:lnTo>
                    <a:lnTo>
                      <a:pt x="437" y="72"/>
                    </a:lnTo>
                    <a:lnTo>
                      <a:pt x="465" y="86"/>
                    </a:lnTo>
                    <a:lnTo>
                      <a:pt x="460" y="107"/>
                    </a:lnTo>
                    <a:lnTo>
                      <a:pt x="497" y="95"/>
                    </a:lnTo>
                    <a:lnTo>
                      <a:pt x="525" y="121"/>
                    </a:lnTo>
                    <a:lnTo>
                      <a:pt x="544" y="120"/>
                    </a:lnTo>
                    <a:lnTo>
                      <a:pt x="542" y="107"/>
                    </a:lnTo>
                    <a:lnTo>
                      <a:pt x="564" y="84"/>
                    </a:lnTo>
                    <a:lnTo>
                      <a:pt x="588" y="102"/>
                    </a:lnTo>
                    <a:lnTo>
                      <a:pt x="659" y="107"/>
                    </a:lnTo>
                    <a:lnTo>
                      <a:pt x="672" y="90"/>
                    </a:lnTo>
                    <a:lnTo>
                      <a:pt x="692" y="88"/>
                    </a:lnTo>
                    <a:lnTo>
                      <a:pt x="703" y="104"/>
                    </a:lnTo>
                    <a:lnTo>
                      <a:pt x="721" y="95"/>
                    </a:lnTo>
                    <a:lnTo>
                      <a:pt x="737" y="84"/>
                    </a:lnTo>
                    <a:lnTo>
                      <a:pt x="729" y="52"/>
                    </a:lnTo>
                    <a:lnTo>
                      <a:pt x="708" y="37"/>
                    </a:lnTo>
                    <a:lnTo>
                      <a:pt x="723" y="28"/>
                    </a:lnTo>
                    <a:lnTo>
                      <a:pt x="732" y="13"/>
                    </a:lnTo>
                    <a:lnTo>
                      <a:pt x="754" y="0"/>
                    </a:lnTo>
                    <a:lnTo>
                      <a:pt x="776" y="19"/>
                    </a:lnTo>
                    <a:lnTo>
                      <a:pt x="769" y="37"/>
                    </a:lnTo>
                    <a:lnTo>
                      <a:pt x="773" y="53"/>
                    </a:lnTo>
                    <a:lnTo>
                      <a:pt x="786" y="65"/>
                    </a:lnTo>
                    <a:lnTo>
                      <a:pt x="794" y="88"/>
                    </a:lnTo>
                    <a:lnTo>
                      <a:pt x="812" y="65"/>
                    </a:lnTo>
                    <a:lnTo>
                      <a:pt x="822" y="85"/>
                    </a:lnTo>
                    <a:lnTo>
                      <a:pt x="821" y="117"/>
                    </a:lnTo>
                    <a:lnTo>
                      <a:pt x="834" y="117"/>
                    </a:lnTo>
                    <a:lnTo>
                      <a:pt x="840" y="99"/>
                    </a:lnTo>
                    <a:lnTo>
                      <a:pt x="860" y="79"/>
                    </a:lnTo>
                    <a:lnTo>
                      <a:pt x="868" y="53"/>
                    </a:lnTo>
                    <a:lnTo>
                      <a:pt x="904" y="57"/>
                    </a:lnTo>
                    <a:lnTo>
                      <a:pt x="913" y="83"/>
                    </a:lnTo>
                    <a:lnTo>
                      <a:pt x="898" y="90"/>
                    </a:lnTo>
                    <a:lnTo>
                      <a:pt x="906" y="123"/>
                    </a:lnTo>
                    <a:lnTo>
                      <a:pt x="860" y="146"/>
                    </a:lnTo>
                    <a:lnTo>
                      <a:pt x="854" y="136"/>
                    </a:lnTo>
                    <a:lnTo>
                      <a:pt x="830" y="137"/>
                    </a:lnTo>
                    <a:lnTo>
                      <a:pt x="827" y="156"/>
                    </a:lnTo>
                    <a:lnTo>
                      <a:pt x="799" y="156"/>
                    </a:lnTo>
                    <a:lnTo>
                      <a:pt x="791" y="148"/>
                    </a:lnTo>
                    <a:lnTo>
                      <a:pt x="778" y="149"/>
                    </a:lnTo>
                    <a:lnTo>
                      <a:pt x="779" y="160"/>
                    </a:lnTo>
                    <a:lnTo>
                      <a:pt x="806" y="171"/>
                    </a:lnTo>
                    <a:lnTo>
                      <a:pt x="799" y="195"/>
                    </a:lnTo>
                    <a:lnTo>
                      <a:pt x="785" y="205"/>
                    </a:lnTo>
                    <a:lnTo>
                      <a:pt x="763" y="208"/>
                    </a:lnTo>
                    <a:lnTo>
                      <a:pt x="750" y="228"/>
                    </a:lnTo>
                    <a:lnTo>
                      <a:pt x="720" y="251"/>
                    </a:lnTo>
                    <a:lnTo>
                      <a:pt x="694" y="274"/>
                    </a:lnTo>
                    <a:lnTo>
                      <a:pt x="673" y="306"/>
                    </a:lnTo>
                    <a:lnTo>
                      <a:pt x="672" y="330"/>
                    </a:lnTo>
                    <a:lnTo>
                      <a:pt x="691" y="333"/>
                    </a:lnTo>
                    <a:lnTo>
                      <a:pt x="701" y="374"/>
                    </a:lnTo>
                    <a:lnTo>
                      <a:pt x="745" y="379"/>
                    </a:lnTo>
                    <a:lnTo>
                      <a:pt x="773" y="406"/>
                    </a:lnTo>
                    <a:lnTo>
                      <a:pt x="791" y="408"/>
                    </a:lnTo>
                    <a:lnTo>
                      <a:pt x="806" y="426"/>
                    </a:lnTo>
                    <a:lnTo>
                      <a:pt x="836" y="424"/>
                    </a:lnTo>
                    <a:lnTo>
                      <a:pt x="833" y="459"/>
                    </a:lnTo>
                    <a:lnTo>
                      <a:pt x="830" y="489"/>
                    </a:lnTo>
                    <a:lnTo>
                      <a:pt x="841" y="512"/>
                    </a:lnTo>
                    <a:lnTo>
                      <a:pt x="854" y="513"/>
                    </a:lnTo>
                    <a:lnTo>
                      <a:pt x="865" y="501"/>
                    </a:lnTo>
                    <a:lnTo>
                      <a:pt x="877" y="512"/>
                    </a:lnTo>
                    <a:lnTo>
                      <a:pt x="882" y="499"/>
                    </a:lnTo>
                    <a:lnTo>
                      <a:pt x="889" y="463"/>
                    </a:lnTo>
                    <a:lnTo>
                      <a:pt x="888" y="450"/>
                    </a:lnTo>
                    <a:lnTo>
                      <a:pt x="891" y="426"/>
                    </a:lnTo>
                    <a:lnTo>
                      <a:pt x="914" y="414"/>
                    </a:lnTo>
                    <a:lnTo>
                      <a:pt x="915" y="413"/>
                    </a:lnTo>
                    <a:lnTo>
                      <a:pt x="916" y="409"/>
                    </a:lnTo>
                    <a:lnTo>
                      <a:pt x="916" y="403"/>
                    </a:lnTo>
                    <a:lnTo>
                      <a:pt x="917" y="395"/>
                    </a:lnTo>
                    <a:lnTo>
                      <a:pt x="919" y="387"/>
                    </a:lnTo>
                    <a:lnTo>
                      <a:pt x="919" y="377"/>
                    </a:lnTo>
                    <a:lnTo>
                      <a:pt x="919" y="368"/>
                    </a:lnTo>
                    <a:lnTo>
                      <a:pt x="917" y="358"/>
                    </a:lnTo>
                    <a:lnTo>
                      <a:pt x="916" y="350"/>
                    </a:lnTo>
                    <a:lnTo>
                      <a:pt x="914" y="342"/>
                    </a:lnTo>
                    <a:lnTo>
                      <a:pt x="910" y="337"/>
                    </a:lnTo>
                    <a:lnTo>
                      <a:pt x="906" y="332"/>
                    </a:lnTo>
                    <a:lnTo>
                      <a:pt x="922" y="325"/>
                    </a:lnTo>
                    <a:lnTo>
                      <a:pt x="926" y="294"/>
                    </a:lnTo>
                    <a:lnTo>
                      <a:pt x="923" y="283"/>
                    </a:lnTo>
                    <a:lnTo>
                      <a:pt x="926" y="257"/>
                    </a:lnTo>
                    <a:lnTo>
                      <a:pt x="943" y="232"/>
                    </a:lnTo>
                    <a:lnTo>
                      <a:pt x="969" y="246"/>
                    </a:lnTo>
                    <a:lnTo>
                      <a:pt x="1004" y="246"/>
                    </a:lnTo>
                    <a:lnTo>
                      <a:pt x="1017" y="259"/>
                    </a:lnTo>
                    <a:lnTo>
                      <a:pt x="1033" y="275"/>
                    </a:lnTo>
                    <a:lnTo>
                      <a:pt x="1054" y="283"/>
                    </a:lnTo>
                    <a:lnTo>
                      <a:pt x="1045" y="295"/>
                    </a:lnTo>
                    <a:lnTo>
                      <a:pt x="1046" y="340"/>
                    </a:lnTo>
                    <a:lnTo>
                      <a:pt x="1071" y="347"/>
                    </a:lnTo>
                    <a:lnTo>
                      <a:pt x="1096" y="338"/>
                    </a:lnTo>
                    <a:lnTo>
                      <a:pt x="1105" y="324"/>
                    </a:lnTo>
                    <a:lnTo>
                      <a:pt x="1119" y="301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4" name="Freeform 71">
                <a:extLst>
                  <a:ext uri="{FF2B5EF4-FFF2-40B4-BE49-F238E27FC236}">
                    <a16:creationId xmlns:a16="http://schemas.microsoft.com/office/drawing/2014/main" id="{FD694AB3-AB09-49C9-988F-04FD47CEC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8" y="2040"/>
                <a:ext cx="91" cy="95"/>
              </a:xfrm>
              <a:custGeom>
                <a:avLst/>
                <a:gdLst>
                  <a:gd name="T0" fmla="*/ 44 w 81"/>
                  <a:gd name="T1" fmla="*/ 0 h 84"/>
                  <a:gd name="T2" fmla="*/ 34 w 81"/>
                  <a:gd name="T3" fmla="*/ 3 h 84"/>
                  <a:gd name="T4" fmla="*/ 27 w 81"/>
                  <a:gd name="T5" fmla="*/ 13 h 84"/>
                  <a:gd name="T6" fmla="*/ 19 w 81"/>
                  <a:gd name="T7" fmla="*/ 24 h 84"/>
                  <a:gd name="T8" fmla="*/ 6 w 81"/>
                  <a:gd name="T9" fmla="*/ 30 h 84"/>
                  <a:gd name="T10" fmla="*/ 0 w 81"/>
                  <a:gd name="T11" fmla="*/ 44 h 84"/>
                  <a:gd name="T12" fmla="*/ 0 w 81"/>
                  <a:gd name="T13" fmla="*/ 64 h 84"/>
                  <a:gd name="T14" fmla="*/ 16 w 81"/>
                  <a:gd name="T15" fmla="*/ 66 h 84"/>
                  <a:gd name="T16" fmla="*/ 31 w 81"/>
                  <a:gd name="T17" fmla="*/ 60 h 84"/>
                  <a:gd name="T18" fmla="*/ 42 w 81"/>
                  <a:gd name="T19" fmla="*/ 60 h 84"/>
                  <a:gd name="T20" fmla="*/ 44 w 81"/>
                  <a:gd name="T21" fmla="*/ 79 h 84"/>
                  <a:gd name="T22" fmla="*/ 54 w 81"/>
                  <a:gd name="T23" fmla="*/ 83 h 84"/>
                  <a:gd name="T24" fmla="*/ 54 w 81"/>
                  <a:gd name="T25" fmla="*/ 70 h 84"/>
                  <a:gd name="T26" fmla="*/ 63 w 81"/>
                  <a:gd name="T27" fmla="*/ 71 h 84"/>
                  <a:gd name="T28" fmla="*/ 66 w 81"/>
                  <a:gd name="T29" fmla="*/ 83 h 84"/>
                  <a:gd name="T30" fmla="*/ 74 w 81"/>
                  <a:gd name="T31" fmla="*/ 65 h 84"/>
                  <a:gd name="T32" fmla="*/ 80 w 81"/>
                  <a:gd name="T33" fmla="*/ 50 h 84"/>
                  <a:gd name="T34" fmla="*/ 77 w 81"/>
                  <a:gd name="T35" fmla="*/ 30 h 84"/>
                  <a:gd name="T36" fmla="*/ 66 w 81"/>
                  <a:gd name="T37" fmla="*/ 26 h 84"/>
                  <a:gd name="T38" fmla="*/ 54 w 81"/>
                  <a:gd name="T39" fmla="*/ 26 h 84"/>
                  <a:gd name="T40" fmla="*/ 49 w 81"/>
                  <a:gd name="T41" fmla="*/ 13 h 84"/>
                  <a:gd name="T42" fmla="*/ 50 w 81"/>
                  <a:gd name="T43" fmla="*/ 5 h 84"/>
                  <a:gd name="T44" fmla="*/ 40 w 81"/>
                  <a:gd name="T45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1" h="84">
                    <a:moveTo>
                      <a:pt x="44" y="0"/>
                    </a:moveTo>
                    <a:lnTo>
                      <a:pt x="34" y="3"/>
                    </a:lnTo>
                    <a:lnTo>
                      <a:pt x="27" y="13"/>
                    </a:lnTo>
                    <a:lnTo>
                      <a:pt x="19" y="24"/>
                    </a:lnTo>
                    <a:lnTo>
                      <a:pt x="6" y="30"/>
                    </a:lnTo>
                    <a:lnTo>
                      <a:pt x="0" y="44"/>
                    </a:lnTo>
                    <a:lnTo>
                      <a:pt x="0" y="64"/>
                    </a:lnTo>
                    <a:lnTo>
                      <a:pt x="16" y="66"/>
                    </a:lnTo>
                    <a:lnTo>
                      <a:pt x="31" y="60"/>
                    </a:lnTo>
                    <a:lnTo>
                      <a:pt x="42" y="60"/>
                    </a:lnTo>
                    <a:lnTo>
                      <a:pt x="44" y="79"/>
                    </a:lnTo>
                    <a:lnTo>
                      <a:pt x="54" y="83"/>
                    </a:lnTo>
                    <a:lnTo>
                      <a:pt x="54" y="70"/>
                    </a:lnTo>
                    <a:lnTo>
                      <a:pt x="63" y="71"/>
                    </a:lnTo>
                    <a:lnTo>
                      <a:pt x="66" y="83"/>
                    </a:lnTo>
                    <a:lnTo>
                      <a:pt x="74" y="65"/>
                    </a:lnTo>
                    <a:lnTo>
                      <a:pt x="80" y="50"/>
                    </a:lnTo>
                    <a:lnTo>
                      <a:pt x="77" y="30"/>
                    </a:lnTo>
                    <a:lnTo>
                      <a:pt x="66" y="26"/>
                    </a:lnTo>
                    <a:lnTo>
                      <a:pt x="54" y="26"/>
                    </a:lnTo>
                    <a:lnTo>
                      <a:pt x="49" y="13"/>
                    </a:lnTo>
                    <a:lnTo>
                      <a:pt x="50" y="5"/>
                    </a:lnTo>
                    <a:lnTo>
                      <a:pt x="40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5" name="Freeform 72">
                <a:extLst>
                  <a:ext uri="{FF2B5EF4-FFF2-40B4-BE49-F238E27FC236}">
                    <a16:creationId xmlns:a16="http://schemas.microsoft.com/office/drawing/2014/main" id="{9588A296-8104-47DD-837D-5C094ECB8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7" y="1422"/>
                <a:ext cx="159" cy="109"/>
              </a:xfrm>
              <a:custGeom>
                <a:avLst/>
                <a:gdLst>
                  <a:gd name="T0" fmla="*/ 45 w 142"/>
                  <a:gd name="T1" fmla="*/ 4 h 98"/>
                  <a:gd name="T2" fmla="*/ 28 w 142"/>
                  <a:gd name="T3" fmla="*/ 32 h 98"/>
                  <a:gd name="T4" fmla="*/ 18 w 142"/>
                  <a:gd name="T5" fmla="*/ 50 h 98"/>
                  <a:gd name="T6" fmla="*/ 0 w 142"/>
                  <a:gd name="T7" fmla="*/ 70 h 98"/>
                  <a:gd name="T8" fmla="*/ 13 w 142"/>
                  <a:gd name="T9" fmla="*/ 84 h 98"/>
                  <a:gd name="T10" fmla="*/ 32 w 142"/>
                  <a:gd name="T11" fmla="*/ 97 h 98"/>
                  <a:gd name="T12" fmla="*/ 71 w 142"/>
                  <a:gd name="T13" fmla="*/ 77 h 98"/>
                  <a:gd name="T14" fmla="*/ 91 w 142"/>
                  <a:gd name="T15" fmla="*/ 64 h 98"/>
                  <a:gd name="T16" fmla="*/ 121 w 142"/>
                  <a:gd name="T17" fmla="*/ 57 h 98"/>
                  <a:gd name="T18" fmla="*/ 141 w 142"/>
                  <a:gd name="T19" fmla="*/ 42 h 98"/>
                  <a:gd name="T20" fmla="*/ 116 w 142"/>
                  <a:gd name="T21" fmla="*/ 19 h 98"/>
                  <a:gd name="T22" fmla="*/ 84 w 142"/>
                  <a:gd name="T23" fmla="*/ 12 h 98"/>
                  <a:gd name="T24" fmla="*/ 71 w 142"/>
                  <a:gd name="T25" fmla="*/ 0 h 98"/>
                  <a:gd name="T26" fmla="*/ 56 w 142"/>
                  <a:gd name="T27" fmla="*/ 15 h 98"/>
                  <a:gd name="T28" fmla="*/ 45 w 142"/>
                  <a:gd name="T29" fmla="*/ 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2" h="98">
                    <a:moveTo>
                      <a:pt x="45" y="4"/>
                    </a:moveTo>
                    <a:lnTo>
                      <a:pt x="28" y="32"/>
                    </a:lnTo>
                    <a:lnTo>
                      <a:pt x="18" y="50"/>
                    </a:lnTo>
                    <a:lnTo>
                      <a:pt x="0" y="70"/>
                    </a:lnTo>
                    <a:lnTo>
                      <a:pt x="13" y="84"/>
                    </a:lnTo>
                    <a:lnTo>
                      <a:pt x="32" y="97"/>
                    </a:lnTo>
                    <a:lnTo>
                      <a:pt x="71" y="77"/>
                    </a:lnTo>
                    <a:lnTo>
                      <a:pt x="91" y="64"/>
                    </a:lnTo>
                    <a:lnTo>
                      <a:pt x="121" y="57"/>
                    </a:lnTo>
                    <a:lnTo>
                      <a:pt x="141" y="42"/>
                    </a:lnTo>
                    <a:lnTo>
                      <a:pt x="116" y="19"/>
                    </a:lnTo>
                    <a:lnTo>
                      <a:pt x="84" y="12"/>
                    </a:lnTo>
                    <a:lnTo>
                      <a:pt x="71" y="0"/>
                    </a:lnTo>
                    <a:lnTo>
                      <a:pt x="56" y="15"/>
                    </a:lnTo>
                    <a:lnTo>
                      <a:pt x="45" y="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6" name="Freeform 73">
                <a:extLst>
                  <a:ext uri="{FF2B5EF4-FFF2-40B4-BE49-F238E27FC236}">
                    <a16:creationId xmlns:a16="http://schemas.microsoft.com/office/drawing/2014/main" id="{EBCFCE1B-3794-427C-BCEA-FCFB872F4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" y="1470"/>
                <a:ext cx="228" cy="122"/>
              </a:xfrm>
              <a:custGeom>
                <a:avLst/>
                <a:gdLst>
                  <a:gd name="T0" fmla="*/ 62 w 203"/>
                  <a:gd name="T1" fmla="*/ 9 h 109"/>
                  <a:gd name="T2" fmla="*/ 34 w 203"/>
                  <a:gd name="T3" fmla="*/ 25 h 109"/>
                  <a:gd name="T4" fmla="*/ 34 w 203"/>
                  <a:gd name="T5" fmla="*/ 37 h 109"/>
                  <a:gd name="T6" fmla="*/ 2 w 203"/>
                  <a:gd name="T7" fmla="*/ 40 h 109"/>
                  <a:gd name="T8" fmla="*/ 0 w 203"/>
                  <a:gd name="T9" fmla="*/ 53 h 109"/>
                  <a:gd name="T10" fmla="*/ 52 w 203"/>
                  <a:gd name="T11" fmla="*/ 62 h 109"/>
                  <a:gd name="T12" fmla="*/ 12 w 203"/>
                  <a:gd name="T13" fmla="*/ 72 h 109"/>
                  <a:gd name="T14" fmla="*/ 4 w 203"/>
                  <a:gd name="T15" fmla="*/ 80 h 109"/>
                  <a:gd name="T16" fmla="*/ 32 w 203"/>
                  <a:gd name="T17" fmla="*/ 95 h 109"/>
                  <a:gd name="T18" fmla="*/ 57 w 203"/>
                  <a:gd name="T19" fmla="*/ 108 h 109"/>
                  <a:gd name="T20" fmla="*/ 92 w 203"/>
                  <a:gd name="T21" fmla="*/ 108 h 109"/>
                  <a:gd name="T22" fmla="*/ 151 w 203"/>
                  <a:gd name="T23" fmla="*/ 105 h 109"/>
                  <a:gd name="T24" fmla="*/ 188 w 203"/>
                  <a:gd name="T25" fmla="*/ 98 h 109"/>
                  <a:gd name="T26" fmla="*/ 179 w 203"/>
                  <a:gd name="T27" fmla="*/ 72 h 109"/>
                  <a:gd name="T28" fmla="*/ 202 w 203"/>
                  <a:gd name="T29" fmla="*/ 68 h 109"/>
                  <a:gd name="T30" fmla="*/ 177 w 203"/>
                  <a:gd name="T31" fmla="*/ 53 h 109"/>
                  <a:gd name="T32" fmla="*/ 161 w 203"/>
                  <a:gd name="T33" fmla="*/ 22 h 109"/>
                  <a:gd name="T34" fmla="*/ 169 w 203"/>
                  <a:gd name="T35" fmla="*/ 5 h 109"/>
                  <a:gd name="T36" fmla="*/ 139 w 203"/>
                  <a:gd name="T37" fmla="*/ 0 h 109"/>
                  <a:gd name="T38" fmla="*/ 132 w 203"/>
                  <a:gd name="T39" fmla="*/ 32 h 109"/>
                  <a:gd name="T40" fmla="*/ 117 w 203"/>
                  <a:gd name="T41" fmla="*/ 14 h 109"/>
                  <a:gd name="T42" fmla="*/ 104 w 203"/>
                  <a:gd name="T43" fmla="*/ 5 h 109"/>
                  <a:gd name="T44" fmla="*/ 94 w 203"/>
                  <a:gd name="T45" fmla="*/ 22 h 109"/>
                  <a:gd name="T46" fmla="*/ 85 w 203"/>
                  <a:gd name="T47" fmla="*/ 3 h 109"/>
                  <a:gd name="T48" fmla="*/ 62 w 203"/>
                  <a:gd name="T49" fmla="*/ 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03" h="109">
                    <a:moveTo>
                      <a:pt x="62" y="9"/>
                    </a:moveTo>
                    <a:lnTo>
                      <a:pt x="34" y="25"/>
                    </a:lnTo>
                    <a:lnTo>
                      <a:pt x="34" y="37"/>
                    </a:lnTo>
                    <a:lnTo>
                      <a:pt x="2" y="40"/>
                    </a:lnTo>
                    <a:lnTo>
                      <a:pt x="0" y="53"/>
                    </a:lnTo>
                    <a:lnTo>
                      <a:pt x="52" y="62"/>
                    </a:lnTo>
                    <a:lnTo>
                      <a:pt x="12" y="72"/>
                    </a:lnTo>
                    <a:lnTo>
                      <a:pt x="4" y="80"/>
                    </a:lnTo>
                    <a:lnTo>
                      <a:pt x="32" y="95"/>
                    </a:lnTo>
                    <a:lnTo>
                      <a:pt x="57" y="108"/>
                    </a:lnTo>
                    <a:lnTo>
                      <a:pt x="92" y="108"/>
                    </a:lnTo>
                    <a:lnTo>
                      <a:pt x="151" y="105"/>
                    </a:lnTo>
                    <a:lnTo>
                      <a:pt x="188" y="98"/>
                    </a:lnTo>
                    <a:lnTo>
                      <a:pt x="179" y="72"/>
                    </a:lnTo>
                    <a:lnTo>
                      <a:pt x="202" y="68"/>
                    </a:lnTo>
                    <a:lnTo>
                      <a:pt x="177" y="53"/>
                    </a:lnTo>
                    <a:lnTo>
                      <a:pt x="161" y="22"/>
                    </a:lnTo>
                    <a:lnTo>
                      <a:pt x="169" y="5"/>
                    </a:lnTo>
                    <a:lnTo>
                      <a:pt x="139" y="0"/>
                    </a:lnTo>
                    <a:lnTo>
                      <a:pt x="132" y="32"/>
                    </a:lnTo>
                    <a:lnTo>
                      <a:pt x="117" y="14"/>
                    </a:lnTo>
                    <a:lnTo>
                      <a:pt x="104" y="5"/>
                    </a:lnTo>
                    <a:lnTo>
                      <a:pt x="94" y="22"/>
                    </a:lnTo>
                    <a:lnTo>
                      <a:pt x="85" y="3"/>
                    </a:lnTo>
                    <a:lnTo>
                      <a:pt x="62" y="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7" name="Freeform 74">
                <a:extLst>
                  <a:ext uri="{FF2B5EF4-FFF2-40B4-BE49-F238E27FC236}">
                    <a16:creationId xmlns:a16="http://schemas.microsoft.com/office/drawing/2014/main" id="{3DD7016E-619B-40DA-A6E5-7E0DD45C94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8" y="1446"/>
                <a:ext cx="35" cy="18"/>
              </a:xfrm>
              <a:custGeom>
                <a:avLst/>
                <a:gdLst>
                  <a:gd name="T0" fmla="*/ 15 w 30"/>
                  <a:gd name="T1" fmla="*/ 14 h 15"/>
                  <a:gd name="T2" fmla="*/ 18 w 30"/>
                  <a:gd name="T3" fmla="*/ 14 h 15"/>
                  <a:gd name="T4" fmla="*/ 19 w 30"/>
                  <a:gd name="T5" fmla="*/ 14 h 15"/>
                  <a:gd name="T6" fmla="*/ 21 w 30"/>
                  <a:gd name="T7" fmla="*/ 14 h 15"/>
                  <a:gd name="T8" fmla="*/ 23 w 30"/>
                  <a:gd name="T9" fmla="*/ 13 h 15"/>
                  <a:gd name="T10" fmla="*/ 25 w 30"/>
                  <a:gd name="T11" fmla="*/ 12 h 15"/>
                  <a:gd name="T12" fmla="*/ 26 w 30"/>
                  <a:gd name="T13" fmla="*/ 11 h 15"/>
                  <a:gd name="T14" fmla="*/ 28 w 30"/>
                  <a:gd name="T15" fmla="*/ 11 h 15"/>
                  <a:gd name="T16" fmla="*/ 29 w 30"/>
                  <a:gd name="T17" fmla="*/ 10 h 15"/>
                  <a:gd name="T18" fmla="*/ 29 w 30"/>
                  <a:gd name="T19" fmla="*/ 9 h 15"/>
                  <a:gd name="T20" fmla="*/ 29 w 30"/>
                  <a:gd name="T21" fmla="*/ 8 h 15"/>
                  <a:gd name="T22" fmla="*/ 29 w 30"/>
                  <a:gd name="T23" fmla="*/ 7 h 15"/>
                  <a:gd name="T24" fmla="*/ 29 w 30"/>
                  <a:gd name="T25" fmla="*/ 6 h 15"/>
                  <a:gd name="T26" fmla="*/ 29 w 30"/>
                  <a:gd name="T27" fmla="*/ 4 h 15"/>
                  <a:gd name="T28" fmla="*/ 28 w 30"/>
                  <a:gd name="T29" fmla="*/ 3 h 15"/>
                  <a:gd name="T30" fmla="*/ 26 w 30"/>
                  <a:gd name="T31" fmla="*/ 3 h 15"/>
                  <a:gd name="T32" fmla="*/ 25 w 30"/>
                  <a:gd name="T33" fmla="*/ 2 h 15"/>
                  <a:gd name="T34" fmla="*/ 23 w 30"/>
                  <a:gd name="T35" fmla="*/ 1 h 15"/>
                  <a:gd name="T36" fmla="*/ 21 w 30"/>
                  <a:gd name="T37" fmla="*/ 0 h 15"/>
                  <a:gd name="T38" fmla="*/ 19 w 30"/>
                  <a:gd name="T39" fmla="*/ 0 h 15"/>
                  <a:gd name="T40" fmla="*/ 18 w 30"/>
                  <a:gd name="T41" fmla="*/ 0 h 15"/>
                  <a:gd name="T42" fmla="*/ 15 w 30"/>
                  <a:gd name="T43" fmla="*/ 0 h 15"/>
                  <a:gd name="T44" fmla="*/ 13 w 30"/>
                  <a:gd name="T45" fmla="*/ 0 h 15"/>
                  <a:gd name="T46" fmla="*/ 11 w 30"/>
                  <a:gd name="T47" fmla="*/ 0 h 15"/>
                  <a:gd name="T48" fmla="*/ 10 w 30"/>
                  <a:gd name="T49" fmla="*/ 0 h 15"/>
                  <a:gd name="T50" fmla="*/ 8 w 30"/>
                  <a:gd name="T51" fmla="*/ 1 h 15"/>
                  <a:gd name="T52" fmla="*/ 6 w 30"/>
                  <a:gd name="T53" fmla="*/ 2 h 15"/>
                  <a:gd name="T54" fmla="*/ 5 w 30"/>
                  <a:gd name="T55" fmla="*/ 2 h 15"/>
                  <a:gd name="T56" fmla="*/ 4 w 30"/>
                  <a:gd name="T57" fmla="*/ 3 h 15"/>
                  <a:gd name="T58" fmla="*/ 2 w 30"/>
                  <a:gd name="T59" fmla="*/ 3 h 15"/>
                  <a:gd name="T60" fmla="*/ 2 w 30"/>
                  <a:gd name="T61" fmla="*/ 4 h 15"/>
                  <a:gd name="T62" fmla="*/ 1 w 30"/>
                  <a:gd name="T63" fmla="*/ 6 h 15"/>
                  <a:gd name="T64" fmla="*/ 1 w 30"/>
                  <a:gd name="T65" fmla="*/ 7 h 15"/>
                  <a:gd name="T66" fmla="*/ 0 w 30"/>
                  <a:gd name="T67" fmla="*/ 7 h 15"/>
                  <a:gd name="T68" fmla="*/ 1 w 30"/>
                  <a:gd name="T69" fmla="*/ 8 h 15"/>
                  <a:gd name="T70" fmla="*/ 1 w 30"/>
                  <a:gd name="T71" fmla="*/ 9 h 15"/>
                  <a:gd name="T72" fmla="*/ 2 w 30"/>
                  <a:gd name="T73" fmla="*/ 10 h 15"/>
                  <a:gd name="T74" fmla="*/ 2 w 30"/>
                  <a:gd name="T75" fmla="*/ 11 h 15"/>
                  <a:gd name="T76" fmla="*/ 4 w 30"/>
                  <a:gd name="T77" fmla="*/ 11 h 15"/>
                  <a:gd name="T78" fmla="*/ 5 w 30"/>
                  <a:gd name="T79" fmla="*/ 12 h 15"/>
                  <a:gd name="T80" fmla="*/ 6 w 30"/>
                  <a:gd name="T81" fmla="*/ 12 h 15"/>
                  <a:gd name="T82" fmla="*/ 8 w 30"/>
                  <a:gd name="T83" fmla="*/ 13 h 15"/>
                  <a:gd name="T84" fmla="*/ 10 w 30"/>
                  <a:gd name="T85" fmla="*/ 14 h 15"/>
                  <a:gd name="T86" fmla="*/ 11 w 30"/>
                  <a:gd name="T87" fmla="*/ 14 h 15"/>
                  <a:gd name="T88" fmla="*/ 13 w 30"/>
                  <a:gd name="T89" fmla="*/ 14 h 15"/>
                  <a:gd name="T90" fmla="*/ 15 w 30"/>
                  <a:gd name="T91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" h="15">
                    <a:moveTo>
                      <a:pt x="15" y="14"/>
                    </a:moveTo>
                    <a:lnTo>
                      <a:pt x="18" y="14"/>
                    </a:lnTo>
                    <a:lnTo>
                      <a:pt x="19" y="14"/>
                    </a:lnTo>
                    <a:lnTo>
                      <a:pt x="21" y="14"/>
                    </a:lnTo>
                    <a:lnTo>
                      <a:pt x="23" y="13"/>
                    </a:lnTo>
                    <a:lnTo>
                      <a:pt x="25" y="12"/>
                    </a:lnTo>
                    <a:lnTo>
                      <a:pt x="26" y="11"/>
                    </a:lnTo>
                    <a:lnTo>
                      <a:pt x="28" y="11"/>
                    </a:lnTo>
                    <a:lnTo>
                      <a:pt x="29" y="10"/>
                    </a:lnTo>
                    <a:lnTo>
                      <a:pt x="29" y="9"/>
                    </a:lnTo>
                    <a:lnTo>
                      <a:pt x="29" y="8"/>
                    </a:lnTo>
                    <a:lnTo>
                      <a:pt x="29" y="7"/>
                    </a:lnTo>
                    <a:lnTo>
                      <a:pt x="29" y="6"/>
                    </a:lnTo>
                    <a:lnTo>
                      <a:pt x="29" y="4"/>
                    </a:lnTo>
                    <a:lnTo>
                      <a:pt x="28" y="3"/>
                    </a:lnTo>
                    <a:lnTo>
                      <a:pt x="26" y="3"/>
                    </a:lnTo>
                    <a:lnTo>
                      <a:pt x="25" y="2"/>
                    </a:lnTo>
                    <a:lnTo>
                      <a:pt x="23" y="1"/>
                    </a:lnTo>
                    <a:lnTo>
                      <a:pt x="21" y="0"/>
                    </a:lnTo>
                    <a:lnTo>
                      <a:pt x="19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5" y="2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1" y="6"/>
                    </a:lnTo>
                    <a:lnTo>
                      <a:pt x="1" y="7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8" y="13"/>
                    </a:lnTo>
                    <a:lnTo>
                      <a:pt x="10" y="14"/>
                    </a:lnTo>
                    <a:lnTo>
                      <a:pt x="11" y="14"/>
                    </a:lnTo>
                    <a:lnTo>
                      <a:pt x="13" y="14"/>
                    </a:lnTo>
                    <a:lnTo>
                      <a:pt x="15" y="1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8" name="Freeform 75">
                <a:extLst>
                  <a:ext uri="{FF2B5EF4-FFF2-40B4-BE49-F238E27FC236}">
                    <a16:creationId xmlns:a16="http://schemas.microsoft.com/office/drawing/2014/main" id="{FF80ACA1-9097-4B3E-A009-7996A1521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2" y="1335"/>
                <a:ext cx="98" cy="62"/>
              </a:xfrm>
              <a:custGeom>
                <a:avLst/>
                <a:gdLst>
                  <a:gd name="T0" fmla="*/ 85 w 86"/>
                  <a:gd name="T1" fmla="*/ 0 h 55"/>
                  <a:gd name="T2" fmla="*/ 63 w 86"/>
                  <a:gd name="T3" fmla="*/ 8 h 55"/>
                  <a:gd name="T4" fmla="*/ 30 w 86"/>
                  <a:gd name="T5" fmla="*/ 24 h 55"/>
                  <a:gd name="T6" fmla="*/ 2 w 86"/>
                  <a:gd name="T7" fmla="*/ 31 h 55"/>
                  <a:gd name="T8" fmla="*/ 0 w 86"/>
                  <a:gd name="T9" fmla="*/ 49 h 55"/>
                  <a:gd name="T10" fmla="*/ 37 w 86"/>
                  <a:gd name="T11" fmla="*/ 54 h 55"/>
                  <a:gd name="T12" fmla="*/ 63 w 86"/>
                  <a:gd name="T13" fmla="*/ 29 h 55"/>
                  <a:gd name="T14" fmla="*/ 85 w 86"/>
                  <a:gd name="T15" fmla="*/ 29 h 55"/>
                  <a:gd name="T16" fmla="*/ 85 w 86"/>
                  <a:gd name="T17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6" h="55">
                    <a:moveTo>
                      <a:pt x="85" y="0"/>
                    </a:moveTo>
                    <a:lnTo>
                      <a:pt x="63" y="8"/>
                    </a:lnTo>
                    <a:lnTo>
                      <a:pt x="30" y="24"/>
                    </a:lnTo>
                    <a:lnTo>
                      <a:pt x="2" y="31"/>
                    </a:lnTo>
                    <a:lnTo>
                      <a:pt x="0" y="49"/>
                    </a:lnTo>
                    <a:lnTo>
                      <a:pt x="37" y="54"/>
                    </a:lnTo>
                    <a:lnTo>
                      <a:pt x="63" y="29"/>
                    </a:lnTo>
                    <a:lnTo>
                      <a:pt x="85" y="29"/>
                    </a:lnTo>
                    <a:lnTo>
                      <a:pt x="85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9" name="Freeform 76">
                <a:extLst>
                  <a:ext uri="{FF2B5EF4-FFF2-40B4-BE49-F238E27FC236}">
                    <a16:creationId xmlns:a16="http://schemas.microsoft.com/office/drawing/2014/main" id="{B0363E6C-34D8-4C11-B6CB-4473A1FB2B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1" y="1391"/>
                <a:ext cx="18" cy="31"/>
              </a:xfrm>
              <a:custGeom>
                <a:avLst/>
                <a:gdLst>
                  <a:gd name="T0" fmla="*/ 7 w 15"/>
                  <a:gd name="T1" fmla="*/ 25 h 26"/>
                  <a:gd name="T2" fmla="*/ 6 w 15"/>
                  <a:gd name="T3" fmla="*/ 25 h 26"/>
                  <a:gd name="T4" fmla="*/ 4 w 15"/>
                  <a:gd name="T5" fmla="*/ 24 h 26"/>
                  <a:gd name="T6" fmla="*/ 3 w 15"/>
                  <a:gd name="T7" fmla="*/ 24 h 26"/>
                  <a:gd name="T8" fmla="*/ 3 w 15"/>
                  <a:gd name="T9" fmla="*/ 23 h 26"/>
                  <a:gd name="T10" fmla="*/ 2 w 15"/>
                  <a:gd name="T11" fmla="*/ 22 h 26"/>
                  <a:gd name="T12" fmla="*/ 2 w 15"/>
                  <a:gd name="T13" fmla="*/ 21 h 26"/>
                  <a:gd name="T14" fmla="*/ 2 w 15"/>
                  <a:gd name="T15" fmla="*/ 20 h 26"/>
                  <a:gd name="T16" fmla="*/ 1 w 15"/>
                  <a:gd name="T17" fmla="*/ 18 h 26"/>
                  <a:gd name="T18" fmla="*/ 1 w 15"/>
                  <a:gd name="T19" fmla="*/ 16 h 26"/>
                  <a:gd name="T20" fmla="*/ 1 w 15"/>
                  <a:gd name="T21" fmla="*/ 15 h 26"/>
                  <a:gd name="T22" fmla="*/ 0 w 15"/>
                  <a:gd name="T23" fmla="*/ 13 h 26"/>
                  <a:gd name="T24" fmla="*/ 1 w 15"/>
                  <a:gd name="T25" fmla="*/ 11 h 26"/>
                  <a:gd name="T26" fmla="*/ 1 w 15"/>
                  <a:gd name="T27" fmla="*/ 9 h 26"/>
                  <a:gd name="T28" fmla="*/ 1 w 15"/>
                  <a:gd name="T29" fmla="*/ 8 h 26"/>
                  <a:gd name="T30" fmla="*/ 2 w 15"/>
                  <a:gd name="T31" fmla="*/ 6 h 26"/>
                  <a:gd name="T32" fmla="*/ 2 w 15"/>
                  <a:gd name="T33" fmla="*/ 5 h 26"/>
                  <a:gd name="T34" fmla="*/ 2 w 15"/>
                  <a:gd name="T35" fmla="*/ 4 h 26"/>
                  <a:gd name="T36" fmla="*/ 3 w 15"/>
                  <a:gd name="T37" fmla="*/ 3 h 26"/>
                  <a:gd name="T38" fmla="*/ 3 w 15"/>
                  <a:gd name="T39" fmla="*/ 2 h 26"/>
                  <a:gd name="T40" fmla="*/ 4 w 15"/>
                  <a:gd name="T41" fmla="*/ 2 h 26"/>
                  <a:gd name="T42" fmla="*/ 6 w 15"/>
                  <a:gd name="T43" fmla="*/ 1 h 26"/>
                  <a:gd name="T44" fmla="*/ 7 w 15"/>
                  <a:gd name="T45" fmla="*/ 1 h 26"/>
                  <a:gd name="T46" fmla="*/ 7 w 15"/>
                  <a:gd name="T47" fmla="*/ 0 h 26"/>
                  <a:gd name="T48" fmla="*/ 8 w 15"/>
                  <a:gd name="T49" fmla="*/ 1 h 26"/>
                  <a:gd name="T50" fmla="*/ 9 w 15"/>
                  <a:gd name="T51" fmla="*/ 1 h 26"/>
                  <a:gd name="T52" fmla="*/ 11 w 15"/>
                  <a:gd name="T53" fmla="*/ 2 h 26"/>
                  <a:gd name="T54" fmla="*/ 12 w 15"/>
                  <a:gd name="T55" fmla="*/ 3 h 26"/>
                  <a:gd name="T56" fmla="*/ 12 w 15"/>
                  <a:gd name="T57" fmla="*/ 4 h 26"/>
                  <a:gd name="T58" fmla="*/ 13 w 15"/>
                  <a:gd name="T59" fmla="*/ 5 h 26"/>
                  <a:gd name="T60" fmla="*/ 13 w 15"/>
                  <a:gd name="T61" fmla="*/ 6 h 26"/>
                  <a:gd name="T62" fmla="*/ 14 w 15"/>
                  <a:gd name="T63" fmla="*/ 8 h 26"/>
                  <a:gd name="T64" fmla="*/ 14 w 15"/>
                  <a:gd name="T65" fmla="*/ 9 h 26"/>
                  <a:gd name="T66" fmla="*/ 14 w 15"/>
                  <a:gd name="T67" fmla="*/ 11 h 26"/>
                  <a:gd name="T68" fmla="*/ 14 w 15"/>
                  <a:gd name="T69" fmla="*/ 13 h 26"/>
                  <a:gd name="T70" fmla="*/ 14 w 15"/>
                  <a:gd name="T71" fmla="*/ 15 h 26"/>
                  <a:gd name="T72" fmla="*/ 14 w 15"/>
                  <a:gd name="T73" fmla="*/ 16 h 26"/>
                  <a:gd name="T74" fmla="*/ 14 w 15"/>
                  <a:gd name="T75" fmla="*/ 18 h 26"/>
                  <a:gd name="T76" fmla="*/ 13 w 15"/>
                  <a:gd name="T77" fmla="*/ 20 h 26"/>
                  <a:gd name="T78" fmla="*/ 13 w 15"/>
                  <a:gd name="T79" fmla="*/ 21 h 26"/>
                  <a:gd name="T80" fmla="*/ 12 w 15"/>
                  <a:gd name="T81" fmla="*/ 22 h 26"/>
                  <a:gd name="T82" fmla="*/ 12 w 15"/>
                  <a:gd name="T83" fmla="*/ 23 h 26"/>
                  <a:gd name="T84" fmla="*/ 11 w 15"/>
                  <a:gd name="T85" fmla="*/ 24 h 26"/>
                  <a:gd name="T86" fmla="*/ 9 w 15"/>
                  <a:gd name="T87" fmla="*/ 25 h 26"/>
                  <a:gd name="T88" fmla="*/ 8 w 15"/>
                  <a:gd name="T89" fmla="*/ 25 h 26"/>
                  <a:gd name="T90" fmla="*/ 7 w 15"/>
                  <a:gd name="T91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5" h="26">
                    <a:moveTo>
                      <a:pt x="7" y="25"/>
                    </a:moveTo>
                    <a:lnTo>
                      <a:pt x="6" y="25"/>
                    </a:lnTo>
                    <a:lnTo>
                      <a:pt x="4" y="24"/>
                    </a:lnTo>
                    <a:lnTo>
                      <a:pt x="3" y="24"/>
                    </a:lnTo>
                    <a:lnTo>
                      <a:pt x="3" y="23"/>
                    </a:lnTo>
                    <a:lnTo>
                      <a:pt x="2" y="22"/>
                    </a:lnTo>
                    <a:lnTo>
                      <a:pt x="2" y="21"/>
                    </a:lnTo>
                    <a:lnTo>
                      <a:pt x="2" y="20"/>
                    </a:lnTo>
                    <a:lnTo>
                      <a:pt x="1" y="18"/>
                    </a:lnTo>
                    <a:lnTo>
                      <a:pt x="1" y="16"/>
                    </a:lnTo>
                    <a:lnTo>
                      <a:pt x="1" y="15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1" y="9"/>
                    </a:lnTo>
                    <a:lnTo>
                      <a:pt x="1" y="8"/>
                    </a:lnTo>
                    <a:lnTo>
                      <a:pt x="2" y="6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4" y="2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7" y="0"/>
                    </a:lnTo>
                    <a:lnTo>
                      <a:pt x="8" y="1"/>
                    </a:lnTo>
                    <a:lnTo>
                      <a:pt x="9" y="1"/>
                    </a:lnTo>
                    <a:lnTo>
                      <a:pt x="11" y="2"/>
                    </a:lnTo>
                    <a:lnTo>
                      <a:pt x="12" y="3"/>
                    </a:lnTo>
                    <a:lnTo>
                      <a:pt x="12" y="4"/>
                    </a:lnTo>
                    <a:lnTo>
                      <a:pt x="13" y="5"/>
                    </a:lnTo>
                    <a:lnTo>
                      <a:pt x="13" y="6"/>
                    </a:lnTo>
                    <a:lnTo>
                      <a:pt x="14" y="8"/>
                    </a:lnTo>
                    <a:lnTo>
                      <a:pt x="14" y="9"/>
                    </a:lnTo>
                    <a:lnTo>
                      <a:pt x="14" y="11"/>
                    </a:lnTo>
                    <a:lnTo>
                      <a:pt x="14" y="13"/>
                    </a:lnTo>
                    <a:lnTo>
                      <a:pt x="14" y="15"/>
                    </a:lnTo>
                    <a:lnTo>
                      <a:pt x="14" y="16"/>
                    </a:lnTo>
                    <a:lnTo>
                      <a:pt x="14" y="18"/>
                    </a:lnTo>
                    <a:lnTo>
                      <a:pt x="13" y="20"/>
                    </a:lnTo>
                    <a:lnTo>
                      <a:pt x="13" y="21"/>
                    </a:lnTo>
                    <a:lnTo>
                      <a:pt x="12" y="22"/>
                    </a:lnTo>
                    <a:lnTo>
                      <a:pt x="12" y="23"/>
                    </a:lnTo>
                    <a:lnTo>
                      <a:pt x="11" y="24"/>
                    </a:lnTo>
                    <a:lnTo>
                      <a:pt x="9" y="25"/>
                    </a:lnTo>
                    <a:lnTo>
                      <a:pt x="8" y="25"/>
                    </a:lnTo>
                    <a:lnTo>
                      <a:pt x="7" y="2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40" name="Freeform 77">
                <a:extLst>
                  <a:ext uri="{FF2B5EF4-FFF2-40B4-BE49-F238E27FC236}">
                    <a16:creationId xmlns:a16="http://schemas.microsoft.com/office/drawing/2014/main" id="{E3699E6F-7446-4878-BCCD-5D35767F95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4" y="1364"/>
                <a:ext cx="147" cy="73"/>
              </a:xfrm>
              <a:custGeom>
                <a:avLst/>
                <a:gdLst>
                  <a:gd name="T0" fmla="*/ 45 w 131"/>
                  <a:gd name="T1" fmla="*/ 20 h 64"/>
                  <a:gd name="T2" fmla="*/ 33 w 131"/>
                  <a:gd name="T3" fmla="*/ 33 h 64"/>
                  <a:gd name="T4" fmla="*/ 5 w 131"/>
                  <a:gd name="T5" fmla="*/ 33 h 64"/>
                  <a:gd name="T6" fmla="*/ 0 w 131"/>
                  <a:gd name="T7" fmla="*/ 55 h 64"/>
                  <a:gd name="T8" fmla="*/ 30 w 131"/>
                  <a:gd name="T9" fmla="*/ 63 h 64"/>
                  <a:gd name="T10" fmla="*/ 55 w 131"/>
                  <a:gd name="T11" fmla="*/ 59 h 64"/>
                  <a:gd name="T12" fmla="*/ 77 w 131"/>
                  <a:gd name="T13" fmla="*/ 51 h 64"/>
                  <a:gd name="T14" fmla="*/ 105 w 131"/>
                  <a:gd name="T15" fmla="*/ 46 h 64"/>
                  <a:gd name="T16" fmla="*/ 130 w 131"/>
                  <a:gd name="T17" fmla="*/ 54 h 64"/>
                  <a:gd name="T18" fmla="*/ 117 w 131"/>
                  <a:gd name="T19" fmla="*/ 26 h 64"/>
                  <a:gd name="T20" fmla="*/ 90 w 131"/>
                  <a:gd name="T21" fmla="*/ 18 h 64"/>
                  <a:gd name="T22" fmla="*/ 85 w 131"/>
                  <a:gd name="T23" fmla="*/ 0 h 64"/>
                  <a:gd name="T24" fmla="*/ 62 w 131"/>
                  <a:gd name="T25" fmla="*/ 3 h 64"/>
                  <a:gd name="T26" fmla="*/ 60 w 131"/>
                  <a:gd name="T27" fmla="*/ 18 h 64"/>
                  <a:gd name="T28" fmla="*/ 45 w 131"/>
                  <a:gd name="T29" fmla="*/ 2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1" h="64">
                    <a:moveTo>
                      <a:pt x="45" y="20"/>
                    </a:moveTo>
                    <a:lnTo>
                      <a:pt x="33" y="33"/>
                    </a:lnTo>
                    <a:lnTo>
                      <a:pt x="5" y="33"/>
                    </a:lnTo>
                    <a:lnTo>
                      <a:pt x="0" y="55"/>
                    </a:lnTo>
                    <a:lnTo>
                      <a:pt x="30" y="63"/>
                    </a:lnTo>
                    <a:lnTo>
                      <a:pt x="55" y="59"/>
                    </a:lnTo>
                    <a:lnTo>
                      <a:pt x="77" y="51"/>
                    </a:lnTo>
                    <a:lnTo>
                      <a:pt x="105" y="46"/>
                    </a:lnTo>
                    <a:lnTo>
                      <a:pt x="130" y="54"/>
                    </a:lnTo>
                    <a:lnTo>
                      <a:pt x="117" y="26"/>
                    </a:lnTo>
                    <a:lnTo>
                      <a:pt x="90" y="18"/>
                    </a:lnTo>
                    <a:lnTo>
                      <a:pt x="85" y="0"/>
                    </a:lnTo>
                    <a:lnTo>
                      <a:pt x="62" y="3"/>
                    </a:lnTo>
                    <a:lnTo>
                      <a:pt x="60" y="18"/>
                    </a:lnTo>
                    <a:lnTo>
                      <a:pt x="45" y="2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41" name="Freeform 78">
                <a:extLst>
                  <a:ext uri="{FF2B5EF4-FFF2-40B4-BE49-F238E27FC236}">
                    <a16:creationId xmlns:a16="http://schemas.microsoft.com/office/drawing/2014/main" id="{8BB11722-5F03-4BCE-9ABE-651DBB5DAE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2" y="1326"/>
                <a:ext cx="47" cy="34"/>
              </a:xfrm>
              <a:custGeom>
                <a:avLst/>
                <a:gdLst>
                  <a:gd name="T0" fmla="*/ 26 w 41"/>
                  <a:gd name="T1" fmla="*/ 2 h 31"/>
                  <a:gd name="T2" fmla="*/ 8 w 41"/>
                  <a:gd name="T3" fmla="*/ 2 h 31"/>
                  <a:gd name="T4" fmla="*/ 0 w 41"/>
                  <a:gd name="T5" fmla="*/ 17 h 31"/>
                  <a:gd name="T6" fmla="*/ 0 w 41"/>
                  <a:gd name="T7" fmla="*/ 30 h 31"/>
                  <a:gd name="T8" fmla="*/ 18 w 41"/>
                  <a:gd name="T9" fmla="*/ 20 h 31"/>
                  <a:gd name="T10" fmla="*/ 38 w 41"/>
                  <a:gd name="T11" fmla="*/ 15 h 31"/>
                  <a:gd name="T12" fmla="*/ 40 w 41"/>
                  <a:gd name="T13" fmla="*/ 0 h 31"/>
                  <a:gd name="T14" fmla="*/ 26 w 41"/>
                  <a:gd name="T15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1">
                    <a:moveTo>
                      <a:pt x="26" y="2"/>
                    </a:moveTo>
                    <a:lnTo>
                      <a:pt x="8" y="2"/>
                    </a:lnTo>
                    <a:lnTo>
                      <a:pt x="0" y="17"/>
                    </a:lnTo>
                    <a:lnTo>
                      <a:pt x="0" y="30"/>
                    </a:lnTo>
                    <a:lnTo>
                      <a:pt x="18" y="20"/>
                    </a:lnTo>
                    <a:lnTo>
                      <a:pt x="38" y="15"/>
                    </a:lnTo>
                    <a:lnTo>
                      <a:pt x="40" y="0"/>
                    </a:lnTo>
                    <a:lnTo>
                      <a:pt x="26" y="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42" name="Freeform 79">
                <a:extLst>
                  <a:ext uri="{FF2B5EF4-FFF2-40B4-BE49-F238E27FC236}">
                    <a16:creationId xmlns:a16="http://schemas.microsoft.com/office/drawing/2014/main" id="{09A05895-791D-4262-9BAC-96EBF4333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1" y="1286"/>
                <a:ext cx="56" cy="30"/>
              </a:xfrm>
              <a:custGeom>
                <a:avLst/>
                <a:gdLst>
                  <a:gd name="T0" fmla="*/ 13 w 51"/>
                  <a:gd name="T1" fmla="*/ 7 h 27"/>
                  <a:gd name="T2" fmla="*/ 25 w 51"/>
                  <a:gd name="T3" fmla="*/ 0 h 27"/>
                  <a:gd name="T4" fmla="*/ 42 w 51"/>
                  <a:gd name="T5" fmla="*/ 2 h 27"/>
                  <a:gd name="T6" fmla="*/ 50 w 51"/>
                  <a:gd name="T7" fmla="*/ 15 h 27"/>
                  <a:gd name="T8" fmla="*/ 28 w 51"/>
                  <a:gd name="T9" fmla="*/ 23 h 27"/>
                  <a:gd name="T10" fmla="*/ 0 w 51"/>
                  <a:gd name="T11" fmla="*/ 26 h 27"/>
                  <a:gd name="T12" fmla="*/ 13 w 51"/>
                  <a:gd name="T13" fmla="*/ 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1" h="27">
                    <a:moveTo>
                      <a:pt x="13" y="7"/>
                    </a:moveTo>
                    <a:lnTo>
                      <a:pt x="25" y="0"/>
                    </a:lnTo>
                    <a:lnTo>
                      <a:pt x="42" y="2"/>
                    </a:lnTo>
                    <a:lnTo>
                      <a:pt x="50" y="15"/>
                    </a:lnTo>
                    <a:lnTo>
                      <a:pt x="28" y="23"/>
                    </a:lnTo>
                    <a:lnTo>
                      <a:pt x="0" y="26"/>
                    </a:lnTo>
                    <a:lnTo>
                      <a:pt x="13" y="7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43" name="Freeform 80">
                <a:extLst>
                  <a:ext uri="{FF2B5EF4-FFF2-40B4-BE49-F238E27FC236}">
                    <a16:creationId xmlns:a16="http://schemas.microsoft.com/office/drawing/2014/main" id="{B0A84C68-3D1C-4CA6-BB76-F01D8E7CD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8" y="1286"/>
                <a:ext cx="78" cy="51"/>
              </a:xfrm>
              <a:custGeom>
                <a:avLst/>
                <a:gdLst>
                  <a:gd name="T0" fmla="*/ 13 w 70"/>
                  <a:gd name="T1" fmla="*/ 0 h 45"/>
                  <a:gd name="T2" fmla="*/ 31 w 70"/>
                  <a:gd name="T3" fmla="*/ 2 h 45"/>
                  <a:gd name="T4" fmla="*/ 48 w 70"/>
                  <a:gd name="T5" fmla="*/ 7 h 45"/>
                  <a:gd name="T6" fmla="*/ 64 w 70"/>
                  <a:gd name="T7" fmla="*/ 25 h 45"/>
                  <a:gd name="T8" fmla="*/ 69 w 70"/>
                  <a:gd name="T9" fmla="*/ 40 h 45"/>
                  <a:gd name="T10" fmla="*/ 39 w 70"/>
                  <a:gd name="T11" fmla="*/ 44 h 45"/>
                  <a:gd name="T12" fmla="*/ 31 w 70"/>
                  <a:gd name="T13" fmla="*/ 29 h 45"/>
                  <a:gd name="T14" fmla="*/ 13 w 70"/>
                  <a:gd name="T15" fmla="*/ 27 h 45"/>
                  <a:gd name="T16" fmla="*/ 0 w 70"/>
                  <a:gd name="T17" fmla="*/ 9 h 45"/>
                  <a:gd name="T18" fmla="*/ 13 w 70"/>
                  <a:gd name="T1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45">
                    <a:moveTo>
                      <a:pt x="13" y="0"/>
                    </a:moveTo>
                    <a:lnTo>
                      <a:pt x="31" y="2"/>
                    </a:lnTo>
                    <a:lnTo>
                      <a:pt x="48" y="7"/>
                    </a:lnTo>
                    <a:lnTo>
                      <a:pt x="64" y="25"/>
                    </a:lnTo>
                    <a:lnTo>
                      <a:pt x="69" y="40"/>
                    </a:lnTo>
                    <a:lnTo>
                      <a:pt x="39" y="44"/>
                    </a:lnTo>
                    <a:lnTo>
                      <a:pt x="31" y="29"/>
                    </a:lnTo>
                    <a:lnTo>
                      <a:pt x="13" y="27"/>
                    </a:lnTo>
                    <a:lnTo>
                      <a:pt x="0" y="9"/>
                    </a:lnTo>
                    <a:lnTo>
                      <a:pt x="13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44" name="Freeform 81">
                <a:extLst>
                  <a:ext uri="{FF2B5EF4-FFF2-40B4-BE49-F238E27FC236}">
                    <a16:creationId xmlns:a16="http://schemas.microsoft.com/office/drawing/2014/main" id="{1EBE2CA9-E374-4F35-A819-2789520E4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8" y="1442"/>
                <a:ext cx="75" cy="78"/>
              </a:xfrm>
              <a:custGeom>
                <a:avLst/>
                <a:gdLst>
                  <a:gd name="T0" fmla="*/ 23 w 67"/>
                  <a:gd name="T1" fmla="*/ 5 h 70"/>
                  <a:gd name="T2" fmla="*/ 28 w 67"/>
                  <a:gd name="T3" fmla="*/ 21 h 70"/>
                  <a:gd name="T4" fmla="*/ 25 w 67"/>
                  <a:gd name="T5" fmla="*/ 38 h 70"/>
                  <a:gd name="T6" fmla="*/ 3 w 67"/>
                  <a:gd name="T7" fmla="*/ 26 h 70"/>
                  <a:gd name="T8" fmla="*/ 0 w 67"/>
                  <a:gd name="T9" fmla="*/ 41 h 70"/>
                  <a:gd name="T10" fmla="*/ 21 w 67"/>
                  <a:gd name="T11" fmla="*/ 53 h 70"/>
                  <a:gd name="T12" fmla="*/ 31 w 67"/>
                  <a:gd name="T13" fmla="*/ 66 h 70"/>
                  <a:gd name="T14" fmla="*/ 53 w 67"/>
                  <a:gd name="T15" fmla="*/ 69 h 70"/>
                  <a:gd name="T16" fmla="*/ 66 w 67"/>
                  <a:gd name="T17" fmla="*/ 46 h 70"/>
                  <a:gd name="T18" fmla="*/ 58 w 67"/>
                  <a:gd name="T19" fmla="*/ 28 h 70"/>
                  <a:gd name="T20" fmla="*/ 61 w 67"/>
                  <a:gd name="T21" fmla="*/ 0 h 70"/>
                  <a:gd name="T22" fmla="*/ 23 w 67"/>
                  <a:gd name="T23" fmla="*/ 5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" h="70">
                    <a:moveTo>
                      <a:pt x="23" y="5"/>
                    </a:moveTo>
                    <a:lnTo>
                      <a:pt x="28" y="21"/>
                    </a:lnTo>
                    <a:lnTo>
                      <a:pt x="25" y="38"/>
                    </a:lnTo>
                    <a:lnTo>
                      <a:pt x="3" y="26"/>
                    </a:lnTo>
                    <a:lnTo>
                      <a:pt x="0" y="41"/>
                    </a:lnTo>
                    <a:lnTo>
                      <a:pt x="21" y="53"/>
                    </a:lnTo>
                    <a:lnTo>
                      <a:pt x="31" y="66"/>
                    </a:lnTo>
                    <a:lnTo>
                      <a:pt x="53" y="69"/>
                    </a:lnTo>
                    <a:lnTo>
                      <a:pt x="66" y="46"/>
                    </a:lnTo>
                    <a:lnTo>
                      <a:pt x="58" y="28"/>
                    </a:lnTo>
                    <a:lnTo>
                      <a:pt x="61" y="0"/>
                    </a:lnTo>
                    <a:lnTo>
                      <a:pt x="23" y="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45" name="Freeform 82">
                <a:extLst>
                  <a:ext uri="{FF2B5EF4-FFF2-40B4-BE49-F238E27FC236}">
                    <a16:creationId xmlns:a16="http://schemas.microsoft.com/office/drawing/2014/main" id="{E186FC41-1823-48B0-B373-DE5F92B1D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6" y="1556"/>
                <a:ext cx="46" cy="36"/>
              </a:xfrm>
              <a:custGeom>
                <a:avLst/>
                <a:gdLst>
                  <a:gd name="T0" fmla="*/ 20 w 42"/>
                  <a:gd name="T1" fmla="*/ 0 h 32"/>
                  <a:gd name="T2" fmla="*/ 5 w 42"/>
                  <a:gd name="T3" fmla="*/ 10 h 32"/>
                  <a:gd name="T4" fmla="*/ 0 w 42"/>
                  <a:gd name="T5" fmla="*/ 28 h 32"/>
                  <a:gd name="T6" fmla="*/ 25 w 42"/>
                  <a:gd name="T7" fmla="*/ 31 h 32"/>
                  <a:gd name="T8" fmla="*/ 41 w 42"/>
                  <a:gd name="T9" fmla="*/ 21 h 32"/>
                  <a:gd name="T10" fmla="*/ 20 w 42"/>
                  <a:gd name="T11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32">
                    <a:moveTo>
                      <a:pt x="20" y="0"/>
                    </a:moveTo>
                    <a:lnTo>
                      <a:pt x="5" y="10"/>
                    </a:lnTo>
                    <a:lnTo>
                      <a:pt x="0" y="28"/>
                    </a:lnTo>
                    <a:lnTo>
                      <a:pt x="25" y="31"/>
                    </a:lnTo>
                    <a:lnTo>
                      <a:pt x="41" y="21"/>
                    </a:lnTo>
                    <a:lnTo>
                      <a:pt x="20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46" name="Freeform 83">
                <a:extLst>
                  <a:ext uri="{FF2B5EF4-FFF2-40B4-BE49-F238E27FC236}">
                    <a16:creationId xmlns:a16="http://schemas.microsoft.com/office/drawing/2014/main" id="{C2D840CF-5A25-4B8B-97CF-B367253182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" y="1439"/>
                <a:ext cx="76" cy="62"/>
              </a:xfrm>
              <a:custGeom>
                <a:avLst/>
                <a:gdLst>
                  <a:gd name="T0" fmla="*/ 0 w 67"/>
                  <a:gd name="T1" fmla="*/ 54 h 55"/>
                  <a:gd name="T2" fmla="*/ 2 w 67"/>
                  <a:gd name="T3" fmla="*/ 31 h 55"/>
                  <a:gd name="T4" fmla="*/ 9 w 67"/>
                  <a:gd name="T5" fmla="*/ 10 h 55"/>
                  <a:gd name="T6" fmla="*/ 32 w 67"/>
                  <a:gd name="T7" fmla="*/ 0 h 55"/>
                  <a:gd name="T8" fmla="*/ 52 w 67"/>
                  <a:gd name="T9" fmla="*/ 3 h 55"/>
                  <a:gd name="T10" fmla="*/ 66 w 67"/>
                  <a:gd name="T11" fmla="*/ 8 h 55"/>
                  <a:gd name="T12" fmla="*/ 53 w 67"/>
                  <a:gd name="T13" fmla="*/ 23 h 55"/>
                  <a:gd name="T14" fmla="*/ 33 w 67"/>
                  <a:gd name="T15" fmla="*/ 39 h 55"/>
                  <a:gd name="T16" fmla="*/ 19 w 67"/>
                  <a:gd name="T17" fmla="*/ 39 h 55"/>
                  <a:gd name="T18" fmla="*/ 14 w 67"/>
                  <a:gd name="T19" fmla="*/ 54 h 55"/>
                  <a:gd name="T20" fmla="*/ 0 w 67"/>
                  <a:gd name="T21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7" h="55">
                    <a:moveTo>
                      <a:pt x="0" y="54"/>
                    </a:moveTo>
                    <a:lnTo>
                      <a:pt x="2" y="31"/>
                    </a:lnTo>
                    <a:lnTo>
                      <a:pt x="9" y="10"/>
                    </a:lnTo>
                    <a:lnTo>
                      <a:pt x="32" y="0"/>
                    </a:lnTo>
                    <a:lnTo>
                      <a:pt x="52" y="3"/>
                    </a:lnTo>
                    <a:lnTo>
                      <a:pt x="66" y="8"/>
                    </a:lnTo>
                    <a:lnTo>
                      <a:pt x="53" y="23"/>
                    </a:lnTo>
                    <a:lnTo>
                      <a:pt x="33" y="39"/>
                    </a:lnTo>
                    <a:lnTo>
                      <a:pt x="19" y="39"/>
                    </a:lnTo>
                    <a:lnTo>
                      <a:pt x="14" y="54"/>
                    </a:lnTo>
                    <a:lnTo>
                      <a:pt x="0" y="5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47" name="Freeform 84">
                <a:extLst>
                  <a:ext uri="{FF2B5EF4-FFF2-40B4-BE49-F238E27FC236}">
                    <a16:creationId xmlns:a16="http://schemas.microsoft.com/office/drawing/2014/main" id="{32FBA4E0-8036-4F17-8CAF-641B3377F7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6" y="1446"/>
                <a:ext cx="363" cy="325"/>
              </a:xfrm>
              <a:custGeom>
                <a:avLst/>
                <a:gdLst>
                  <a:gd name="T0" fmla="*/ 47 w 323"/>
                  <a:gd name="T1" fmla="*/ 0 h 289"/>
                  <a:gd name="T2" fmla="*/ 17 w 323"/>
                  <a:gd name="T3" fmla="*/ 9 h 289"/>
                  <a:gd name="T4" fmla="*/ 0 w 323"/>
                  <a:gd name="T5" fmla="*/ 40 h 289"/>
                  <a:gd name="T6" fmla="*/ 3 w 323"/>
                  <a:gd name="T7" fmla="*/ 67 h 289"/>
                  <a:gd name="T8" fmla="*/ 25 w 323"/>
                  <a:gd name="T9" fmla="*/ 76 h 289"/>
                  <a:gd name="T10" fmla="*/ 15 w 323"/>
                  <a:gd name="T11" fmla="*/ 87 h 289"/>
                  <a:gd name="T12" fmla="*/ 20 w 323"/>
                  <a:gd name="T13" fmla="*/ 96 h 289"/>
                  <a:gd name="T14" fmla="*/ 68 w 323"/>
                  <a:gd name="T15" fmla="*/ 89 h 289"/>
                  <a:gd name="T16" fmla="*/ 97 w 323"/>
                  <a:gd name="T17" fmla="*/ 104 h 289"/>
                  <a:gd name="T18" fmla="*/ 120 w 323"/>
                  <a:gd name="T19" fmla="*/ 89 h 289"/>
                  <a:gd name="T20" fmla="*/ 147 w 323"/>
                  <a:gd name="T21" fmla="*/ 114 h 289"/>
                  <a:gd name="T22" fmla="*/ 145 w 323"/>
                  <a:gd name="T23" fmla="*/ 131 h 289"/>
                  <a:gd name="T24" fmla="*/ 170 w 323"/>
                  <a:gd name="T25" fmla="*/ 131 h 289"/>
                  <a:gd name="T26" fmla="*/ 185 w 323"/>
                  <a:gd name="T27" fmla="*/ 144 h 289"/>
                  <a:gd name="T28" fmla="*/ 187 w 323"/>
                  <a:gd name="T29" fmla="*/ 171 h 289"/>
                  <a:gd name="T30" fmla="*/ 160 w 323"/>
                  <a:gd name="T31" fmla="*/ 201 h 289"/>
                  <a:gd name="T32" fmla="*/ 115 w 323"/>
                  <a:gd name="T33" fmla="*/ 211 h 289"/>
                  <a:gd name="T34" fmla="*/ 105 w 323"/>
                  <a:gd name="T35" fmla="*/ 226 h 289"/>
                  <a:gd name="T36" fmla="*/ 123 w 323"/>
                  <a:gd name="T37" fmla="*/ 243 h 289"/>
                  <a:gd name="T38" fmla="*/ 160 w 323"/>
                  <a:gd name="T39" fmla="*/ 233 h 289"/>
                  <a:gd name="T40" fmla="*/ 197 w 323"/>
                  <a:gd name="T41" fmla="*/ 263 h 289"/>
                  <a:gd name="T42" fmla="*/ 247 w 323"/>
                  <a:gd name="T43" fmla="*/ 288 h 289"/>
                  <a:gd name="T44" fmla="*/ 230 w 323"/>
                  <a:gd name="T45" fmla="*/ 248 h 289"/>
                  <a:gd name="T46" fmla="*/ 264 w 323"/>
                  <a:gd name="T47" fmla="*/ 270 h 289"/>
                  <a:gd name="T48" fmla="*/ 275 w 323"/>
                  <a:gd name="T49" fmla="*/ 246 h 289"/>
                  <a:gd name="T50" fmla="*/ 267 w 323"/>
                  <a:gd name="T51" fmla="*/ 215 h 289"/>
                  <a:gd name="T52" fmla="*/ 242 w 323"/>
                  <a:gd name="T53" fmla="*/ 211 h 289"/>
                  <a:gd name="T54" fmla="*/ 245 w 323"/>
                  <a:gd name="T55" fmla="*/ 182 h 289"/>
                  <a:gd name="T56" fmla="*/ 258 w 323"/>
                  <a:gd name="T57" fmla="*/ 178 h 289"/>
                  <a:gd name="T58" fmla="*/ 297 w 323"/>
                  <a:gd name="T59" fmla="*/ 218 h 289"/>
                  <a:gd name="T60" fmla="*/ 312 w 323"/>
                  <a:gd name="T61" fmla="*/ 193 h 289"/>
                  <a:gd name="T62" fmla="*/ 322 w 323"/>
                  <a:gd name="T63" fmla="*/ 176 h 289"/>
                  <a:gd name="T64" fmla="*/ 297 w 323"/>
                  <a:gd name="T65" fmla="*/ 159 h 289"/>
                  <a:gd name="T66" fmla="*/ 270 w 323"/>
                  <a:gd name="T67" fmla="*/ 151 h 289"/>
                  <a:gd name="T68" fmla="*/ 250 w 323"/>
                  <a:gd name="T69" fmla="*/ 123 h 289"/>
                  <a:gd name="T70" fmla="*/ 264 w 323"/>
                  <a:gd name="T71" fmla="*/ 106 h 289"/>
                  <a:gd name="T72" fmla="*/ 253 w 323"/>
                  <a:gd name="T73" fmla="*/ 84 h 289"/>
                  <a:gd name="T74" fmla="*/ 212 w 323"/>
                  <a:gd name="T75" fmla="*/ 67 h 289"/>
                  <a:gd name="T76" fmla="*/ 187 w 323"/>
                  <a:gd name="T77" fmla="*/ 54 h 289"/>
                  <a:gd name="T78" fmla="*/ 168 w 323"/>
                  <a:gd name="T79" fmla="*/ 22 h 289"/>
                  <a:gd name="T80" fmla="*/ 117 w 323"/>
                  <a:gd name="T81" fmla="*/ 27 h 289"/>
                  <a:gd name="T82" fmla="*/ 103 w 323"/>
                  <a:gd name="T83" fmla="*/ 47 h 289"/>
                  <a:gd name="T84" fmla="*/ 109 w 323"/>
                  <a:gd name="T85" fmla="*/ 2 h 289"/>
                  <a:gd name="T86" fmla="*/ 75 w 323"/>
                  <a:gd name="T87" fmla="*/ 0 h 289"/>
                  <a:gd name="T88" fmla="*/ 58 w 323"/>
                  <a:gd name="T89" fmla="*/ 22 h 289"/>
                  <a:gd name="T90" fmla="*/ 55 w 323"/>
                  <a:gd name="T91" fmla="*/ 40 h 289"/>
                  <a:gd name="T92" fmla="*/ 37 w 323"/>
                  <a:gd name="T93" fmla="*/ 36 h 289"/>
                  <a:gd name="T94" fmla="*/ 47 w 323"/>
                  <a:gd name="T95" fmla="*/ 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23" h="289">
                    <a:moveTo>
                      <a:pt x="47" y="0"/>
                    </a:moveTo>
                    <a:lnTo>
                      <a:pt x="17" y="9"/>
                    </a:lnTo>
                    <a:lnTo>
                      <a:pt x="0" y="40"/>
                    </a:lnTo>
                    <a:lnTo>
                      <a:pt x="3" y="67"/>
                    </a:lnTo>
                    <a:lnTo>
                      <a:pt x="25" y="76"/>
                    </a:lnTo>
                    <a:lnTo>
                      <a:pt x="15" y="87"/>
                    </a:lnTo>
                    <a:lnTo>
                      <a:pt x="20" y="96"/>
                    </a:lnTo>
                    <a:lnTo>
                      <a:pt x="68" y="89"/>
                    </a:lnTo>
                    <a:lnTo>
                      <a:pt x="97" y="104"/>
                    </a:lnTo>
                    <a:lnTo>
                      <a:pt x="120" y="89"/>
                    </a:lnTo>
                    <a:lnTo>
                      <a:pt x="147" y="114"/>
                    </a:lnTo>
                    <a:lnTo>
                      <a:pt x="145" y="131"/>
                    </a:lnTo>
                    <a:lnTo>
                      <a:pt x="170" y="131"/>
                    </a:lnTo>
                    <a:lnTo>
                      <a:pt x="185" y="144"/>
                    </a:lnTo>
                    <a:lnTo>
                      <a:pt x="187" y="171"/>
                    </a:lnTo>
                    <a:lnTo>
                      <a:pt x="160" y="201"/>
                    </a:lnTo>
                    <a:lnTo>
                      <a:pt x="115" y="211"/>
                    </a:lnTo>
                    <a:lnTo>
                      <a:pt x="105" y="226"/>
                    </a:lnTo>
                    <a:lnTo>
                      <a:pt x="123" y="243"/>
                    </a:lnTo>
                    <a:lnTo>
                      <a:pt x="160" y="233"/>
                    </a:lnTo>
                    <a:lnTo>
                      <a:pt x="197" y="263"/>
                    </a:lnTo>
                    <a:lnTo>
                      <a:pt x="247" y="288"/>
                    </a:lnTo>
                    <a:lnTo>
                      <a:pt x="230" y="248"/>
                    </a:lnTo>
                    <a:lnTo>
                      <a:pt x="264" y="270"/>
                    </a:lnTo>
                    <a:lnTo>
                      <a:pt x="275" y="246"/>
                    </a:lnTo>
                    <a:lnTo>
                      <a:pt x="267" y="215"/>
                    </a:lnTo>
                    <a:lnTo>
                      <a:pt x="242" y="211"/>
                    </a:lnTo>
                    <a:lnTo>
                      <a:pt x="245" y="182"/>
                    </a:lnTo>
                    <a:lnTo>
                      <a:pt x="258" y="178"/>
                    </a:lnTo>
                    <a:lnTo>
                      <a:pt x="297" y="218"/>
                    </a:lnTo>
                    <a:lnTo>
                      <a:pt x="312" y="193"/>
                    </a:lnTo>
                    <a:lnTo>
                      <a:pt x="322" y="176"/>
                    </a:lnTo>
                    <a:lnTo>
                      <a:pt x="297" y="159"/>
                    </a:lnTo>
                    <a:lnTo>
                      <a:pt x="270" y="151"/>
                    </a:lnTo>
                    <a:lnTo>
                      <a:pt x="250" y="123"/>
                    </a:lnTo>
                    <a:lnTo>
                      <a:pt x="264" y="106"/>
                    </a:lnTo>
                    <a:lnTo>
                      <a:pt x="253" y="84"/>
                    </a:lnTo>
                    <a:lnTo>
                      <a:pt x="212" y="67"/>
                    </a:lnTo>
                    <a:lnTo>
                      <a:pt x="187" y="54"/>
                    </a:lnTo>
                    <a:lnTo>
                      <a:pt x="168" y="22"/>
                    </a:lnTo>
                    <a:lnTo>
                      <a:pt x="117" y="27"/>
                    </a:lnTo>
                    <a:lnTo>
                      <a:pt x="103" y="47"/>
                    </a:lnTo>
                    <a:lnTo>
                      <a:pt x="109" y="2"/>
                    </a:lnTo>
                    <a:lnTo>
                      <a:pt x="75" y="0"/>
                    </a:lnTo>
                    <a:lnTo>
                      <a:pt x="58" y="22"/>
                    </a:lnTo>
                    <a:lnTo>
                      <a:pt x="55" y="40"/>
                    </a:lnTo>
                    <a:lnTo>
                      <a:pt x="37" y="36"/>
                    </a:lnTo>
                    <a:lnTo>
                      <a:pt x="47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48" name="Freeform 85">
                <a:extLst>
                  <a:ext uri="{FF2B5EF4-FFF2-40B4-BE49-F238E27FC236}">
                    <a16:creationId xmlns:a16="http://schemas.microsoft.com/office/drawing/2014/main" id="{4B6F89A0-FEB9-4A5C-A539-0A2BFE6FE9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1" y="1615"/>
                <a:ext cx="30" cy="34"/>
              </a:xfrm>
              <a:custGeom>
                <a:avLst/>
                <a:gdLst>
                  <a:gd name="T0" fmla="*/ 3 w 27"/>
                  <a:gd name="T1" fmla="*/ 29 h 30"/>
                  <a:gd name="T2" fmla="*/ 2 w 27"/>
                  <a:gd name="T3" fmla="*/ 29 h 30"/>
                  <a:gd name="T4" fmla="*/ 1 w 27"/>
                  <a:gd name="T5" fmla="*/ 28 h 30"/>
                  <a:gd name="T6" fmla="*/ 0 w 27"/>
                  <a:gd name="T7" fmla="*/ 28 h 30"/>
                  <a:gd name="T8" fmla="*/ 0 w 27"/>
                  <a:gd name="T9" fmla="*/ 27 h 30"/>
                  <a:gd name="T10" fmla="*/ 1 w 27"/>
                  <a:gd name="T11" fmla="*/ 25 h 30"/>
                  <a:gd name="T12" fmla="*/ 2 w 27"/>
                  <a:gd name="T13" fmla="*/ 24 h 30"/>
                  <a:gd name="T14" fmla="*/ 2 w 27"/>
                  <a:gd name="T15" fmla="*/ 22 h 30"/>
                  <a:gd name="T16" fmla="*/ 3 w 27"/>
                  <a:gd name="T17" fmla="*/ 20 h 30"/>
                  <a:gd name="T18" fmla="*/ 3 w 27"/>
                  <a:gd name="T19" fmla="*/ 18 h 30"/>
                  <a:gd name="T20" fmla="*/ 3 w 27"/>
                  <a:gd name="T21" fmla="*/ 17 h 30"/>
                  <a:gd name="T22" fmla="*/ 3 w 27"/>
                  <a:gd name="T23" fmla="*/ 14 h 30"/>
                  <a:gd name="T24" fmla="*/ 3 w 27"/>
                  <a:gd name="T25" fmla="*/ 12 h 30"/>
                  <a:gd name="T26" fmla="*/ 4 w 27"/>
                  <a:gd name="T27" fmla="*/ 11 h 30"/>
                  <a:gd name="T28" fmla="*/ 4 w 27"/>
                  <a:gd name="T29" fmla="*/ 10 h 30"/>
                  <a:gd name="T30" fmla="*/ 5 w 27"/>
                  <a:gd name="T31" fmla="*/ 7 h 30"/>
                  <a:gd name="T32" fmla="*/ 6 w 27"/>
                  <a:gd name="T33" fmla="*/ 7 h 30"/>
                  <a:gd name="T34" fmla="*/ 7 w 27"/>
                  <a:gd name="T35" fmla="*/ 5 h 30"/>
                  <a:gd name="T36" fmla="*/ 7 w 27"/>
                  <a:gd name="T37" fmla="*/ 4 h 30"/>
                  <a:gd name="T38" fmla="*/ 9 w 27"/>
                  <a:gd name="T39" fmla="*/ 3 h 30"/>
                  <a:gd name="T40" fmla="*/ 10 w 27"/>
                  <a:gd name="T41" fmla="*/ 2 h 30"/>
                  <a:gd name="T42" fmla="*/ 11 w 27"/>
                  <a:gd name="T43" fmla="*/ 2 h 30"/>
                  <a:gd name="T44" fmla="*/ 12 w 27"/>
                  <a:gd name="T45" fmla="*/ 1 h 30"/>
                  <a:gd name="T46" fmla="*/ 14 w 27"/>
                  <a:gd name="T47" fmla="*/ 1 h 30"/>
                  <a:gd name="T48" fmla="*/ 15 w 27"/>
                  <a:gd name="T49" fmla="*/ 0 h 30"/>
                  <a:gd name="T50" fmla="*/ 16 w 27"/>
                  <a:gd name="T51" fmla="*/ 1 h 30"/>
                  <a:gd name="T52" fmla="*/ 18 w 27"/>
                  <a:gd name="T53" fmla="*/ 1 h 30"/>
                  <a:gd name="T54" fmla="*/ 19 w 27"/>
                  <a:gd name="T55" fmla="*/ 2 h 30"/>
                  <a:gd name="T56" fmla="*/ 21 w 27"/>
                  <a:gd name="T57" fmla="*/ 2 h 30"/>
                  <a:gd name="T58" fmla="*/ 23 w 27"/>
                  <a:gd name="T59" fmla="*/ 3 h 30"/>
                  <a:gd name="T60" fmla="*/ 23 w 27"/>
                  <a:gd name="T61" fmla="*/ 4 h 30"/>
                  <a:gd name="T62" fmla="*/ 23 w 27"/>
                  <a:gd name="T63" fmla="*/ 5 h 30"/>
                  <a:gd name="T64" fmla="*/ 24 w 27"/>
                  <a:gd name="T65" fmla="*/ 7 h 30"/>
                  <a:gd name="T66" fmla="*/ 25 w 27"/>
                  <a:gd name="T67" fmla="*/ 7 h 30"/>
                  <a:gd name="T68" fmla="*/ 26 w 27"/>
                  <a:gd name="T69" fmla="*/ 10 h 30"/>
                  <a:gd name="T70" fmla="*/ 26 w 27"/>
                  <a:gd name="T71" fmla="*/ 11 h 30"/>
                  <a:gd name="T72" fmla="*/ 26 w 27"/>
                  <a:gd name="T73" fmla="*/ 12 h 30"/>
                  <a:gd name="T74" fmla="*/ 26 w 27"/>
                  <a:gd name="T75" fmla="*/ 14 h 30"/>
                  <a:gd name="T76" fmla="*/ 25 w 27"/>
                  <a:gd name="T77" fmla="*/ 17 h 30"/>
                  <a:gd name="T78" fmla="*/ 23 w 27"/>
                  <a:gd name="T79" fmla="*/ 18 h 30"/>
                  <a:gd name="T80" fmla="*/ 22 w 27"/>
                  <a:gd name="T81" fmla="*/ 20 h 30"/>
                  <a:gd name="T82" fmla="*/ 19 w 27"/>
                  <a:gd name="T83" fmla="*/ 22 h 30"/>
                  <a:gd name="T84" fmla="*/ 16 w 27"/>
                  <a:gd name="T85" fmla="*/ 24 h 30"/>
                  <a:gd name="T86" fmla="*/ 15 w 27"/>
                  <a:gd name="T87" fmla="*/ 25 h 30"/>
                  <a:gd name="T88" fmla="*/ 11 w 27"/>
                  <a:gd name="T89" fmla="*/ 27 h 30"/>
                  <a:gd name="T90" fmla="*/ 9 w 27"/>
                  <a:gd name="T91" fmla="*/ 28 h 30"/>
                  <a:gd name="T92" fmla="*/ 7 w 27"/>
                  <a:gd name="T93" fmla="*/ 28 h 30"/>
                  <a:gd name="T94" fmla="*/ 4 w 27"/>
                  <a:gd name="T95" fmla="*/ 29 h 30"/>
                  <a:gd name="T96" fmla="*/ 3 w 27"/>
                  <a:gd name="T97" fmla="*/ 2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7" h="30">
                    <a:moveTo>
                      <a:pt x="3" y="29"/>
                    </a:moveTo>
                    <a:lnTo>
                      <a:pt x="2" y="29"/>
                    </a:lnTo>
                    <a:lnTo>
                      <a:pt x="1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1" y="25"/>
                    </a:lnTo>
                    <a:lnTo>
                      <a:pt x="2" y="24"/>
                    </a:lnTo>
                    <a:lnTo>
                      <a:pt x="2" y="22"/>
                    </a:lnTo>
                    <a:lnTo>
                      <a:pt x="3" y="20"/>
                    </a:lnTo>
                    <a:lnTo>
                      <a:pt x="3" y="18"/>
                    </a:lnTo>
                    <a:lnTo>
                      <a:pt x="3" y="17"/>
                    </a:lnTo>
                    <a:lnTo>
                      <a:pt x="3" y="14"/>
                    </a:lnTo>
                    <a:lnTo>
                      <a:pt x="3" y="12"/>
                    </a:lnTo>
                    <a:lnTo>
                      <a:pt x="4" y="11"/>
                    </a:lnTo>
                    <a:lnTo>
                      <a:pt x="4" y="10"/>
                    </a:lnTo>
                    <a:lnTo>
                      <a:pt x="5" y="7"/>
                    </a:lnTo>
                    <a:lnTo>
                      <a:pt x="6" y="7"/>
                    </a:lnTo>
                    <a:lnTo>
                      <a:pt x="7" y="5"/>
                    </a:lnTo>
                    <a:lnTo>
                      <a:pt x="7" y="4"/>
                    </a:lnTo>
                    <a:lnTo>
                      <a:pt x="9" y="3"/>
                    </a:lnTo>
                    <a:lnTo>
                      <a:pt x="10" y="2"/>
                    </a:lnTo>
                    <a:lnTo>
                      <a:pt x="11" y="2"/>
                    </a:lnTo>
                    <a:lnTo>
                      <a:pt x="12" y="1"/>
                    </a:lnTo>
                    <a:lnTo>
                      <a:pt x="14" y="1"/>
                    </a:lnTo>
                    <a:lnTo>
                      <a:pt x="15" y="0"/>
                    </a:lnTo>
                    <a:lnTo>
                      <a:pt x="16" y="1"/>
                    </a:lnTo>
                    <a:lnTo>
                      <a:pt x="18" y="1"/>
                    </a:lnTo>
                    <a:lnTo>
                      <a:pt x="19" y="2"/>
                    </a:lnTo>
                    <a:lnTo>
                      <a:pt x="21" y="2"/>
                    </a:lnTo>
                    <a:lnTo>
                      <a:pt x="23" y="3"/>
                    </a:lnTo>
                    <a:lnTo>
                      <a:pt x="23" y="4"/>
                    </a:lnTo>
                    <a:lnTo>
                      <a:pt x="23" y="5"/>
                    </a:lnTo>
                    <a:lnTo>
                      <a:pt x="24" y="7"/>
                    </a:lnTo>
                    <a:lnTo>
                      <a:pt x="25" y="7"/>
                    </a:lnTo>
                    <a:lnTo>
                      <a:pt x="26" y="10"/>
                    </a:lnTo>
                    <a:lnTo>
                      <a:pt x="26" y="11"/>
                    </a:lnTo>
                    <a:lnTo>
                      <a:pt x="26" y="12"/>
                    </a:lnTo>
                    <a:lnTo>
                      <a:pt x="26" y="14"/>
                    </a:lnTo>
                    <a:lnTo>
                      <a:pt x="25" y="17"/>
                    </a:lnTo>
                    <a:lnTo>
                      <a:pt x="23" y="18"/>
                    </a:lnTo>
                    <a:lnTo>
                      <a:pt x="22" y="20"/>
                    </a:lnTo>
                    <a:lnTo>
                      <a:pt x="19" y="22"/>
                    </a:lnTo>
                    <a:lnTo>
                      <a:pt x="16" y="24"/>
                    </a:lnTo>
                    <a:lnTo>
                      <a:pt x="15" y="25"/>
                    </a:lnTo>
                    <a:lnTo>
                      <a:pt x="11" y="27"/>
                    </a:lnTo>
                    <a:lnTo>
                      <a:pt x="9" y="28"/>
                    </a:lnTo>
                    <a:lnTo>
                      <a:pt x="7" y="28"/>
                    </a:lnTo>
                    <a:lnTo>
                      <a:pt x="4" y="29"/>
                    </a:lnTo>
                    <a:lnTo>
                      <a:pt x="3" y="2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49" name="Freeform 86">
                <a:extLst>
                  <a:ext uri="{FF2B5EF4-FFF2-40B4-BE49-F238E27FC236}">
                    <a16:creationId xmlns:a16="http://schemas.microsoft.com/office/drawing/2014/main" id="{654FB571-0D3C-4B75-9938-B2B08F5E02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4" y="1570"/>
                <a:ext cx="17" cy="34"/>
              </a:xfrm>
              <a:custGeom>
                <a:avLst/>
                <a:gdLst>
                  <a:gd name="T0" fmla="*/ 7 w 15"/>
                  <a:gd name="T1" fmla="*/ 30 h 31"/>
                  <a:gd name="T2" fmla="*/ 6 w 15"/>
                  <a:gd name="T3" fmla="*/ 30 h 31"/>
                  <a:gd name="T4" fmla="*/ 4 w 15"/>
                  <a:gd name="T5" fmla="*/ 29 h 31"/>
                  <a:gd name="T6" fmla="*/ 4 w 15"/>
                  <a:gd name="T7" fmla="*/ 27 h 31"/>
                  <a:gd name="T8" fmla="*/ 3 w 15"/>
                  <a:gd name="T9" fmla="*/ 26 h 31"/>
                  <a:gd name="T10" fmla="*/ 2 w 15"/>
                  <a:gd name="T11" fmla="*/ 26 h 31"/>
                  <a:gd name="T12" fmla="*/ 2 w 15"/>
                  <a:gd name="T13" fmla="*/ 24 h 31"/>
                  <a:gd name="T14" fmla="*/ 2 w 15"/>
                  <a:gd name="T15" fmla="*/ 22 h 31"/>
                  <a:gd name="T16" fmla="*/ 1 w 15"/>
                  <a:gd name="T17" fmla="*/ 20 h 31"/>
                  <a:gd name="T18" fmla="*/ 1 w 15"/>
                  <a:gd name="T19" fmla="*/ 19 h 31"/>
                  <a:gd name="T20" fmla="*/ 1 w 15"/>
                  <a:gd name="T21" fmla="*/ 17 h 31"/>
                  <a:gd name="T22" fmla="*/ 0 w 15"/>
                  <a:gd name="T23" fmla="*/ 14 h 31"/>
                  <a:gd name="T24" fmla="*/ 1 w 15"/>
                  <a:gd name="T25" fmla="*/ 13 h 31"/>
                  <a:gd name="T26" fmla="*/ 1 w 15"/>
                  <a:gd name="T27" fmla="*/ 11 h 31"/>
                  <a:gd name="T28" fmla="*/ 1 w 15"/>
                  <a:gd name="T29" fmla="*/ 10 h 31"/>
                  <a:gd name="T30" fmla="*/ 2 w 15"/>
                  <a:gd name="T31" fmla="*/ 7 h 31"/>
                  <a:gd name="T32" fmla="*/ 2 w 15"/>
                  <a:gd name="T33" fmla="*/ 6 h 31"/>
                  <a:gd name="T34" fmla="*/ 2 w 15"/>
                  <a:gd name="T35" fmla="*/ 4 h 31"/>
                  <a:gd name="T36" fmla="*/ 3 w 15"/>
                  <a:gd name="T37" fmla="*/ 4 h 31"/>
                  <a:gd name="T38" fmla="*/ 4 w 15"/>
                  <a:gd name="T39" fmla="*/ 3 h 31"/>
                  <a:gd name="T40" fmla="*/ 4 w 15"/>
                  <a:gd name="T41" fmla="*/ 2 h 31"/>
                  <a:gd name="T42" fmla="*/ 6 w 15"/>
                  <a:gd name="T43" fmla="*/ 1 h 31"/>
                  <a:gd name="T44" fmla="*/ 7 w 15"/>
                  <a:gd name="T45" fmla="*/ 1 h 31"/>
                  <a:gd name="T46" fmla="*/ 7 w 15"/>
                  <a:gd name="T47" fmla="*/ 0 h 31"/>
                  <a:gd name="T48" fmla="*/ 8 w 15"/>
                  <a:gd name="T49" fmla="*/ 1 h 31"/>
                  <a:gd name="T50" fmla="*/ 9 w 15"/>
                  <a:gd name="T51" fmla="*/ 1 h 31"/>
                  <a:gd name="T52" fmla="*/ 11 w 15"/>
                  <a:gd name="T53" fmla="*/ 2 h 31"/>
                  <a:gd name="T54" fmla="*/ 11 w 15"/>
                  <a:gd name="T55" fmla="*/ 3 h 31"/>
                  <a:gd name="T56" fmla="*/ 12 w 15"/>
                  <a:gd name="T57" fmla="*/ 4 h 31"/>
                  <a:gd name="T58" fmla="*/ 13 w 15"/>
                  <a:gd name="T59" fmla="*/ 6 h 31"/>
                  <a:gd name="T60" fmla="*/ 13 w 15"/>
                  <a:gd name="T61" fmla="*/ 7 h 31"/>
                  <a:gd name="T62" fmla="*/ 14 w 15"/>
                  <a:gd name="T63" fmla="*/ 10 h 31"/>
                  <a:gd name="T64" fmla="*/ 14 w 15"/>
                  <a:gd name="T65" fmla="*/ 11 h 31"/>
                  <a:gd name="T66" fmla="*/ 14 w 15"/>
                  <a:gd name="T67" fmla="*/ 13 h 31"/>
                  <a:gd name="T68" fmla="*/ 14 w 15"/>
                  <a:gd name="T69" fmla="*/ 14 h 31"/>
                  <a:gd name="T70" fmla="*/ 14 w 15"/>
                  <a:gd name="T71" fmla="*/ 17 h 31"/>
                  <a:gd name="T72" fmla="*/ 14 w 15"/>
                  <a:gd name="T73" fmla="*/ 19 h 31"/>
                  <a:gd name="T74" fmla="*/ 14 w 15"/>
                  <a:gd name="T75" fmla="*/ 20 h 31"/>
                  <a:gd name="T76" fmla="*/ 13 w 15"/>
                  <a:gd name="T77" fmla="*/ 22 h 31"/>
                  <a:gd name="T78" fmla="*/ 13 w 15"/>
                  <a:gd name="T79" fmla="*/ 24 h 31"/>
                  <a:gd name="T80" fmla="*/ 12 w 15"/>
                  <a:gd name="T81" fmla="*/ 26 h 31"/>
                  <a:gd name="T82" fmla="*/ 11 w 15"/>
                  <a:gd name="T83" fmla="*/ 27 h 31"/>
                  <a:gd name="T84" fmla="*/ 11 w 15"/>
                  <a:gd name="T85" fmla="*/ 29 h 31"/>
                  <a:gd name="T86" fmla="*/ 9 w 15"/>
                  <a:gd name="T87" fmla="*/ 30 h 31"/>
                  <a:gd name="T88" fmla="*/ 8 w 15"/>
                  <a:gd name="T89" fmla="*/ 30 h 31"/>
                  <a:gd name="T90" fmla="*/ 7 w 15"/>
                  <a:gd name="T91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5" h="31">
                    <a:moveTo>
                      <a:pt x="7" y="30"/>
                    </a:moveTo>
                    <a:lnTo>
                      <a:pt x="6" y="30"/>
                    </a:lnTo>
                    <a:lnTo>
                      <a:pt x="4" y="29"/>
                    </a:lnTo>
                    <a:lnTo>
                      <a:pt x="4" y="27"/>
                    </a:lnTo>
                    <a:lnTo>
                      <a:pt x="3" y="26"/>
                    </a:lnTo>
                    <a:lnTo>
                      <a:pt x="2" y="26"/>
                    </a:lnTo>
                    <a:lnTo>
                      <a:pt x="2" y="24"/>
                    </a:lnTo>
                    <a:lnTo>
                      <a:pt x="2" y="22"/>
                    </a:lnTo>
                    <a:lnTo>
                      <a:pt x="1" y="20"/>
                    </a:lnTo>
                    <a:lnTo>
                      <a:pt x="1" y="19"/>
                    </a:lnTo>
                    <a:lnTo>
                      <a:pt x="1" y="17"/>
                    </a:lnTo>
                    <a:lnTo>
                      <a:pt x="0" y="14"/>
                    </a:lnTo>
                    <a:lnTo>
                      <a:pt x="1" y="13"/>
                    </a:lnTo>
                    <a:lnTo>
                      <a:pt x="1" y="11"/>
                    </a:lnTo>
                    <a:lnTo>
                      <a:pt x="1" y="10"/>
                    </a:lnTo>
                    <a:lnTo>
                      <a:pt x="2" y="7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3" y="4"/>
                    </a:lnTo>
                    <a:lnTo>
                      <a:pt x="4" y="3"/>
                    </a:lnTo>
                    <a:lnTo>
                      <a:pt x="4" y="2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7" y="0"/>
                    </a:lnTo>
                    <a:lnTo>
                      <a:pt x="8" y="1"/>
                    </a:lnTo>
                    <a:lnTo>
                      <a:pt x="9" y="1"/>
                    </a:lnTo>
                    <a:lnTo>
                      <a:pt x="11" y="2"/>
                    </a:lnTo>
                    <a:lnTo>
                      <a:pt x="11" y="3"/>
                    </a:lnTo>
                    <a:lnTo>
                      <a:pt x="12" y="4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4" y="10"/>
                    </a:lnTo>
                    <a:lnTo>
                      <a:pt x="14" y="11"/>
                    </a:lnTo>
                    <a:lnTo>
                      <a:pt x="14" y="13"/>
                    </a:lnTo>
                    <a:lnTo>
                      <a:pt x="14" y="14"/>
                    </a:lnTo>
                    <a:lnTo>
                      <a:pt x="14" y="17"/>
                    </a:lnTo>
                    <a:lnTo>
                      <a:pt x="14" y="19"/>
                    </a:lnTo>
                    <a:lnTo>
                      <a:pt x="14" y="20"/>
                    </a:lnTo>
                    <a:lnTo>
                      <a:pt x="13" y="22"/>
                    </a:lnTo>
                    <a:lnTo>
                      <a:pt x="13" y="24"/>
                    </a:lnTo>
                    <a:lnTo>
                      <a:pt x="12" y="26"/>
                    </a:lnTo>
                    <a:lnTo>
                      <a:pt x="11" y="27"/>
                    </a:lnTo>
                    <a:lnTo>
                      <a:pt x="11" y="29"/>
                    </a:lnTo>
                    <a:lnTo>
                      <a:pt x="9" y="30"/>
                    </a:lnTo>
                    <a:lnTo>
                      <a:pt x="8" y="30"/>
                    </a:lnTo>
                    <a:lnTo>
                      <a:pt x="7" y="3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50" name="Freeform 87">
                <a:extLst>
                  <a:ext uri="{FF2B5EF4-FFF2-40B4-BE49-F238E27FC236}">
                    <a16:creationId xmlns:a16="http://schemas.microsoft.com/office/drawing/2014/main" id="{E7E0717B-144B-4EC3-B86C-D86FEA6D48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9" y="1689"/>
                <a:ext cx="66" cy="58"/>
              </a:xfrm>
              <a:custGeom>
                <a:avLst/>
                <a:gdLst>
                  <a:gd name="T0" fmla="*/ 26 w 59"/>
                  <a:gd name="T1" fmla="*/ 0 h 51"/>
                  <a:gd name="T2" fmla="*/ 50 w 59"/>
                  <a:gd name="T3" fmla="*/ 8 h 51"/>
                  <a:gd name="T4" fmla="*/ 58 w 59"/>
                  <a:gd name="T5" fmla="*/ 23 h 51"/>
                  <a:gd name="T6" fmla="*/ 38 w 59"/>
                  <a:gd name="T7" fmla="*/ 31 h 51"/>
                  <a:gd name="T8" fmla="*/ 15 w 59"/>
                  <a:gd name="T9" fmla="*/ 50 h 51"/>
                  <a:gd name="T10" fmla="*/ 0 w 59"/>
                  <a:gd name="T11" fmla="*/ 31 h 51"/>
                  <a:gd name="T12" fmla="*/ 3 w 59"/>
                  <a:gd name="T13" fmla="*/ 10 h 51"/>
                  <a:gd name="T14" fmla="*/ 26 w 59"/>
                  <a:gd name="T15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" h="51">
                    <a:moveTo>
                      <a:pt x="26" y="0"/>
                    </a:moveTo>
                    <a:lnTo>
                      <a:pt x="50" y="8"/>
                    </a:lnTo>
                    <a:lnTo>
                      <a:pt x="58" y="23"/>
                    </a:lnTo>
                    <a:lnTo>
                      <a:pt x="38" y="31"/>
                    </a:lnTo>
                    <a:lnTo>
                      <a:pt x="15" y="50"/>
                    </a:lnTo>
                    <a:lnTo>
                      <a:pt x="0" y="31"/>
                    </a:lnTo>
                    <a:lnTo>
                      <a:pt x="3" y="10"/>
                    </a:lnTo>
                    <a:lnTo>
                      <a:pt x="26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51" name="Freeform 88">
                <a:extLst>
                  <a:ext uri="{FF2B5EF4-FFF2-40B4-BE49-F238E27FC236}">
                    <a16:creationId xmlns:a16="http://schemas.microsoft.com/office/drawing/2014/main" id="{DD761624-694F-4F42-89E8-A2293B4E9C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1" y="1364"/>
                <a:ext cx="79" cy="52"/>
              </a:xfrm>
              <a:custGeom>
                <a:avLst/>
                <a:gdLst>
                  <a:gd name="T0" fmla="*/ 30 w 71"/>
                  <a:gd name="T1" fmla="*/ 18 h 46"/>
                  <a:gd name="T2" fmla="*/ 50 w 71"/>
                  <a:gd name="T3" fmla="*/ 5 h 46"/>
                  <a:gd name="T4" fmla="*/ 70 w 71"/>
                  <a:gd name="T5" fmla="*/ 7 h 46"/>
                  <a:gd name="T6" fmla="*/ 68 w 71"/>
                  <a:gd name="T7" fmla="*/ 37 h 46"/>
                  <a:gd name="T8" fmla="*/ 26 w 71"/>
                  <a:gd name="T9" fmla="*/ 45 h 46"/>
                  <a:gd name="T10" fmla="*/ 13 w 71"/>
                  <a:gd name="T11" fmla="*/ 30 h 46"/>
                  <a:gd name="T12" fmla="*/ 0 w 71"/>
                  <a:gd name="T13" fmla="*/ 10 h 46"/>
                  <a:gd name="T14" fmla="*/ 10 w 71"/>
                  <a:gd name="T15" fmla="*/ 0 h 46"/>
                  <a:gd name="T16" fmla="*/ 22 w 71"/>
                  <a:gd name="T17" fmla="*/ 1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46">
                    <a:moveTo>
                      <a:pt x="30" y="18"/>
                    </a:moveTo>
                    <a:lnTo>
                      <a:pt x="50" y="5"/>
                    </a:lnTo>
                    <a:lnTo>
                      <a:pt x="70" y="7"/>
                    </a:lnTo>
                    <a:lnTo>
                      <a:pt x="68" y="37"/>
                    </a:lnTo>
                    <a:lnTo>
                      <a:pt x="26" y="45"/>
                    </a:lnTo>
                    <a:lnTo>
                      <a:pt x="13" y="30"/>
                    </a:lnTo>
                    <a:lnTo>
                      <a:pt x="0" y="10"/>
                    </a:lnTo>
                    <a:lnTo>
                      <a:pt x="10" y="0"/>
                    </a:lnTo>
                    <a:lnTo>
                      <a:pt x="22" y="1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52" name="Freeform 89">
                <a:extLst>
                  <a:ext uri="{FF2B5EF4-FFF2-40B4-BE49-F238E27FC236}">
                    <a16:creationId xmlns:a16="http://schemas.microsoft.com/office/drawing/2014/main" id="{E0333E92-3293-4662-92AA-F8C30C37A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2" y="1295"/>
                <a:ext cx="40" cy="42"/>
              </a:xfrm>
              <a:custGeom>
                <a:avLst/>
                <a:gdLst>
                  <a:gd name="T0" fmla="*/ 0 w 36"/>
                  <a:gd name="T1" fmla="*/ 7 h 37"/>
                  <a:gd name="T2" fmla="*/ 0 w 36"/>
                  <a:gd name="T3" fmla="*/ 25 h 37"/>
                  <a:gd name="T4" fmla="*/ 13 w 36"/>
                  <a:gd name="T5" fmla="*/ 36 h 37"/>
                  <a:gd name="T6" fmla="*/ 27 w 36"/>
                  <a:gd name="T7" fmla="*/ 34 h 37"/>
                  <a:gd name="T8" fmla="*/ 35 w 36"/>
                  <a:gd name="T9" fmla="*/ 17 h 37"/>
                  <a:gd name="T10" fmla="*/ 23 w 36"/>
                  <a:gd name="T11" fmla="*/ 0 h 37"/>
                  <a:gd name="T12" fmla="*/ 0 w 36"/>
                  <a:gd name="T13" fmla="*/ 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37">
                    <a:moveTo>
                      <a:pt x="0" y="7"/>
                    </a:moveTo>
                    <a:lnTo>
                      <a:pt x="0" y="25"/>
                    </a:lnTo>
                    <a:lnTo>
                      <a:pt x="13" y="36"/>
                    </a:lnTo>
                    <a:lnTo>
                      <a:pt x="27" y="34"/>
                    </a:lnTo>
                    <a:lnTo>
                      <a:pt x="35" y="17"/>
                    </a:lnTo>
                    <a:lnTo>
                      <a:pt x="23" y="0"/>
                    </a:lnTo>
                    <a:lnTo>
                      <a:pt x="0" y="7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53" name="Freeform 90">
                <a:extLst>
                  <a:ext uri="{FF2B5EF4-FFF2-40B4-BE49-F238E27FC236}">
                    <a16:creationId xmlns:a16="http://schemas.microsoft.com/office/drawing/2014/main" id="{BB6197AC-8D3B-49BF-8795-E10CB9FAE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" y="1253"/>
                <a:ext cx="28" cy="23"/>
              </a:xfrm>
              <a:custGeom>
                <a:avLst/>
                <a:gdLst>
                  <a:gd name="T0" fmla="*/ 2 w 25"/>
                  <a:gd name="T1" fmla="*/ 0 h 21"/>
                  <a:gd name="T2" fmla="*/ 0 w 25"/>
                  <a:gd name="T3" fmla="*/ 20 h 21"/>
                  <a:gd name="T4" fmla="*/ 19 w 25"/>
                  <a:gd name="T5" fmla="*/ 20 h 21"/>
                  <a:gd name="T6" fmla="*/ 24 w 25"/>
                  <a:gd name="T7" fmla="*/ 5 h 21"/>
                  <a:gd name="T8" fmla="*/ 2 w 25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1">
                    <a:moveTo>
                      <a:pt x="2" y="0"/>
                    </a:moveTo>
                    <a:lnTo>
                      <a:pt x="0" y="20"/>
                    </a:lnTo>
                    <a:lnTo>
                      <a:pt x="19" y="20"/>
                    </a:lnTo>
                    <a:lnTo>
                      <a:pt x="24" y="5"/>
                    </a:lnTo>
                    <a:lnTo>
                      <a:pt x="2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54" name="Freeform 91">
                <a:extLst>
                  <a:ext uri="{FF2B5EF4-FFF2-40B4-BE49-F238E27FC236}">
                    <a16:creationId xmlns:a16="http://schemas.microsoft.com/office/drawing/2014/main" id="{3F10BA44-C72C-4B7A-85E5-B0FCF30F5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3" y="1217"/>
                <a:ext cx="93" cy="99"/>
              </a:xfrm>
              <a:custGeom>
                <a:avLst/>
                <a:gdLst>
                  <a:gd name="T0" fmla="*/ 27 w 83"/>
                  <a:gd name="T1" fmla="*/ 0 h 89"/>
                  <a:gd name="T2" fmla="*/ 15 w 83"/>
                  <a:gd name="T3" fmla="*/ 18 h 89"/>
                  <a:gd name="T4" fmla="*/ 0 w 83"/>
                  <a:gd name="T5" fmla="*/ 35 h 89"/>
                  <a:gd name="T6" fmla="*/ 2 w 83"/>
                  <a:gd name="T7" fmla="*/ 56 h 89"/>
                  <a:gd name="T8" fmla="*/ 20 w 83"/>
                  <a:gd name="T9" fmla="*/ 56 h 89"/>
                  <a:gd name="T10" fmla="*/ 17 w 83"/>
                  <a:gd name="T11" fmla="*/ 67 h 89"/>
                  <a:gd name="T12" fmla="*/ 22 w 83"/>
                  <a:gd name="T13" fmla="*/ 83 h 89"/>
                  <a:gd name="T14" fmla="*/ 67 w 83"/>
                  <a:gd name="T15" fmla="*/ 88 h 89"/>
                  <a:gd name="T16" fmla="*/ 80 w 83"/>
                  <a:gd name="T17" fmla="*/ 70 h 89"/>
                  <a:gd name="T18" fmla="*/ 82 w 83"/>
                  <a:gd name="T19" fmla="*/ 43 h 89"/>
                  <a:gd name="T20" fmla="*/ 65 w 83"/>
                  <a:gd name="T21" fmla="*/ 20 h 89"/>
                  <a:gd name="T22" fmla="*/ 27 w 83"/>
                  <a:gd name="T23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" h="89">
                    <a:moveTo>
                      <a:pt x="27" y="0"/>
                    </a:moveTo>
                    <a:lnTo>
                      <a:pt x="15" y="18"/>
                    </a:lnTo>
                    <a:lnTo>
                      <a:pt x="0" y="35"/>
                    </a:lnTo>
                    <a:lnTo>
                      <a:pt x="2" y="56"/>
                    </a:lnTo>
                    <a:lnTo>
                      <a:pt x="20" y="56"/>
                    </a:lnTo>
                    <a:lnTo>
                      <a:pt x="17" y="67"/>
                    </a:lnTo>
                    <a:lnTo>
                      <a:pt x="22" y="83"/>
                    </a:lnTo>
                    <a:lnTo>
                      <a:pt x="67" y="88"/>
                    </a:lnTo>
                    <a:lnTo>
                      <a:pt x="80" y="70"/>
                    </a:lnTo>
                    <a:lnTo>
                      <a:pt x="82" y="43"/>
                    </a:lnTo>
                    <a:lnTo>
                      <a:pt x="65" y="20"/>
                    </a:lnTo>
                    <a:lnTo>
                      <a:pt x="27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55" name="Freeform 92">
                <a:extLst>
                  <a:ext uri="{FF2B5EF4-FFF2-40B4-BE49-F238E27FC236}">
                    <a16:creationId xmlns:a16="http://schemas.microsoft.com/office/drawing/2014/main" id="{EB563787-CC9D-4540-9C23-5E5E62E523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7" y="1160"/>
                <a:ext cx="395" cy="226"/>
              </a:xfrm>
              <a:custGeom>
                <a:avLst/>
                <a:gdLst>
                  <a:gd name="T0" fmla="*/ 27 w 353"/>
                  <a:gd name="T1" fmla="*/ 37 h 201"/>
                  <a:gd name="T2" fmla="*/ 34 w 353"/>
                  <a:gd name="T3" fmla="*/ 53 h 201"/>
                  <a:gd name="T4" fmla="*/ 47 w 353"/>
                  <a:gd name="T5" fmla="*/ 68 h 201"/>
                  <a:gd name="T6" fmla="*/ 59 w 353"/>
                  <a:gd name="T7" fmla="*/ 72 h 201"/>
                  <a:gd name="T8" fmla="*/ 85 w 353"/>
                  <a:gd name="T9" fmla="*/ 80 h 201"/>
                  <a:gd name="T10" fmla="*/ 107 w 353"/>
                  <a:gd name="T11" fmla="*/ 69 h 201"/>
                  <a:gd name="T12" fmla="*/ 137 w 353"/>
                  <a:gd name="T13" fmla="*/ 62 h 201"/>
                  <a:gd name="T14" fmla="*/ 148 w 353"/>
                  <a:gd name="T15" fmla="*/ 58 h 201"/>
                  <a:gd name="T16" fmla="*/ 148 w 353"/>
                  <a:gd name="T17" fmla="*/ 75 h 201"/>
                  <a:gd name="T18" fmla="*/ 115 w 353"/>
                  <a:gd name="T19" fmla="*/ 82 h 201"/>
                  <a:gd name="T20" fmla="*/ 95 w 353"/>
                  <a:gd name="T21" fmla="*/ 92 h 201"/>
                  <a:gd name="T22" fmla="*/ 112 w 353"/>
                  <a:gd name="T23" fmla="*/ 100 h 201"/>
                  <a:gd name="T24" fmla="*/ 80 w 353"/>
                  <a:gd name="T25" fmla="*/ 100 h 201"/>
                  <a:gd name="T26" fmla="*/ 64 w 353"/>
                  <a:gd name="T27" fmla="*/ 90 h 201"/>
                  <a:gd name="T28" fmla="*/ 62 w 353"/>
                  <a:gd name="T29" fmla="*/ 109 h 201"/>
                  <a:gd name="T30" fmla="*/ 75 w 353"/>
                  <a:gd name="T31" fmla="*/ 127 h 201"/>
                  <a:gd name="T32" fmla="*/ 59 w 353"/>
                  <a:gd name="T33" fmla="*/ 140 h 201"/>
                  <a:gd name="T34" fmla="*/ 47 w 353"/>
                  <a:gd name="T35" fmla="*/ 149 h 201"/>
                  <a:gd name="T36" fmla="*/ 32 w 353"/>
                  <a:gd name="T37" fmla="*/ 160 h 201"/>
                  <a:gd name="T38" fmla="*/ 25 w 353"/>
                  <a:gd name="T39" fmla="*/ 172 h 201"/>
                  <a:gd name="T40" fmla="*/ 0 w 353"/>
                  <a:gd name="T41" fmla="*/ 167 h 201"/>
                  <a:gd name="T42" fmla="*/ 12 w 353"/>
                  <a:gd name="T43" fmla="*/ 189 h 201"/>
                  <a:gd name="T44" fmla="*/ 81 w 353"/>
                  <a:gd name="T45" fmla="*/ 200 h 201"/>
                  <a:gd name="T46" fmla="*/ 121 w 353"/>
                  <a:gd name="T47" fmla="*/ 192 h 201"/>
                  <a:gd name="T48" fmla="*/ 140 w 353"/>
                  <a:gd name="T49" fmla="*/ 172 h 201"/>
                  <a:gd name="T50" fmla="*/ 125 w 353"/>
                  <a:gd name="T51" fmla="*/ 153 h 201"/>
                  <a:gd name="T52" fmla="*/ 140 w 353"/>
                  <a:gd name="T53" fmla="*/ 147 h 201"/>
                  <a:gd name="T54" fmla="*/ 157 w 353"/>
                  <a:gd name="T55" fmla="*/ 142 h 201"/>
                  <a:gd name="T56" fmla="*/ 182 w 353"/>
                  <a:gd name="T57" fmla="*/ 117 h 201"/>
                  <a:gd name="T58" fmla="*/ 189 w 353"/>
                  <a:gd name="T59" fmla="*/ 105 h 201"/>
                  <a:gd name="T60" fmla="*/ 210 w 353"/>
                  <a:gd name="T61" fmla="*/ 92 h 201"/>
                  <a:gd name="T62" fmla="*/ 237 w 353"/>
                  <a:gd name="T63" fmla="*/ 100 h 201"/>
                  <a:gd name="T64" fmla="*/ 287 w 353"/>
                  <a:gd name="T65" fmla="*/ 58 h 201"/>
                  <a:gd name="T66" fmla="*/ 277 w 353"/>
                  <a:gd name="T67" fmla="*/ 40 h 201"/>
                  <a:gd name="T68" fmla="*/ 322 w 353"/>
                  <a:gd name="T69" fmla="*/ 32 h 201"/>
                  <a:gd name="T70" fmla="*/ 352 w 353"/>
                  <a:gd name="T71" fmla="*/ 20 h 201"/>
                  <a:gd name="T72" fmla="*/ 335 w 353"/>
                  <a:gd name="T73" fmla="*/ 3 h 201"/>
                  <a:gd name="T74" fmla="*/ 305 w 353"/>
                  <a:gd name="T75" fmla="*/ 3 h 201"/>
                  <a:gd name="T76" fmla="*/ 230 w 353"/>
                  <a:gd name="T77" fmla="*/ 0 h 201"/>
                  <a:gd name="T78" fmla="*/ 204 w 353"/>
                  <a:gd name="T79" fmla="*/ 20 h 201"/>
                  <a:gd name="T80" fmla="*/ 182 w 353"/>
                  <a:gd name="T81" fmla="*/ 0 h 201"/>
                  <a:gd name="T82" fmla="*/ 180 w 353"/>
                  <a:gd name="T83" fmla="*/ 10 h 201"/>
                  <a:gd name="T84" fmla="*/ 137 w 353"/>
                  <a:gd name="T85" fmla="*/ 7 h 201"/>
                  <a:gd name="T86" fmla="*/ 117 w 353"/>
                  <a:gd name="T87" fmla="*/ 30 h 201"/>
                  <a:gd name="T88" fmla="*/ 97 w 353"/>
                  <a:gd name="T89" fmla="*/ 30 h 201"/>
                  <a:gd name="T90" fmla="*/ 87 w 353"/>
                  <a:gd name="T91" fmla="*/ 18 h 201"/>
                  <a:gd name="T92" fmla="*/ 64 w 353"/>
                  <a:gd name="T93" fmla="*/ 22 h 201"/>
                  <a:gd name="T94" fmla="*/ 59 w 353"/>
                  <a:gd name="T95" fmla="*/ 32 h 201"/>
                  <a:gd name="T96" fmla="*/ 27 w 353"/>
                  <a:gd name="T97" fmla="*/ 37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3" h="201">
                    <a:moveTo>
                      <a:pt x="27" y="37"/>
                    </a:moveTo>
                    <a:lnTo>
                      <a:pt x="34" y="53"/>
                    </a:lnTo>
                    <a:lnTo>
                      <a:pt x="47" y="68"/>
                    </a:lnTo>
                    <a:lnTo>
                      <a:pt x="59" y="72"/>
                    </a:lnTo>
                    <a:lnTo>
                      <a:pt x="85" y="80"/>
                    </a:lnTo>
                    <a:lnTo>
                      <a:pt x="107" y="69"/>
                    </a:lnTo>
                    <a:lnTo>
                      <a:pt x="137" y="62"/>
                    </a:lnTo>
                    <a:lnTo>
                      <a:pt x="148" y="58"/>
                    </a:lnTo>
                    <a:lnTo>
                      <a:pt x="148" y="75"/>
                    </a:lnTo>
                    <a:lnTo>
                      <a:pt x="115" y="82"/>
                    </a:lnTo>
                    <a:lnTo>
                      <a:pt x="95" y="92"/>
                    </a:lnTo>
                    <a:lnTo>
                      <a:pt x="112" y="100"/>
                    </a:lnTo>
                    <a:lnTo>
                      <a:pt x="80" y="100"/>
                    </a:lnTo>
                    <a:lnTo>
                      <a:pt x="64" y="90"/>
                    </a:lnTo>
                    <a:lnTo>
                      <a:pt x="62" y="109"/>
                    </a:lnTo>
                    <a:lnTo>
                      <a:pt x="75" y="127"/>
                    </a:lnTo>
                    <a:lnTo>
                      <a:pt x="59" y="140"/>
                    </a:lnTo>
                    <a:lnTo>
                      <a:pt x="47" y="149"/>
                    </a:lnTo>
                    <a:lnTo>
                      <a:pt x="32" y="160"/>
                    </a:lnTo>
                    <a:lnTo>
                      <a:pt x="25" y="172"/>
                    </a:lnTo>
                    <a:lnTo>
                      <a:pt x="0" y="167"/>
                    </a:lnTo>
                    <a:lnTo>
                      <a:pt x="12" y="189"/>
                    </a:lnTo>
                    <a:lnTo>
                      <a:pt x="81" y="200"/>
                    </a:lnTo>
                    <a:lnTo>
                      <a:pt x="121" y="192"/>
                    </a:lnTo>
                    <a:lnTo>
                      <a:pt x="140" y="172"/>
                    </a:lnTo>
                    <a:lnTo>
                      <a:pt x="125" y="153"/>
                    </a:lnTo>
                    <a:lnTo>
                      <a:pt x="140" y="147"/>
                    </a:lnTo>
                    <a:lnTo>
                      <a:pt x="157" y="142"/>
                    </a:lnTo>
                    <a:lnTo>
                      <a:pt x="182" y="117"/>
                    </a:lnTo>
                    <a:lnTo>
                      <a:pt x="189" y="105"/>
                    </a:lnTo>
                    <a:lnTo>
                      <a:pt x="210" y="92"/>
                    </a:lnTo>
                    <a:lnTo>
                      <a:pt x="237" y="100"/>
                    </a:lnTo>
                    <a:lnTo>
                      <a:pt x="287" y="58"/>
                    </a:lnTo>
                    <a:lnTo>
                      <a:pt x="277" y="40"/>
                    </a:lnTo>
                    <a:lnTo>
                      <a:pt x="322" y="32"/>
                    </a:lnTo>
                    <a:lnTo>
                      <a:pt x="352" y="20"/>
                    </a:lnTo>
                    <a:lnTo>
                      <a:pt x="335" y="3"/>
                    </a:lnTo>
                    <a:lnTo>
                      <a:pt x="305" y="3"/>
                    </a:lnTo>
                    <a:lnTo>
                      <a:pt x="230" y="0"/>
                    </a:lnTo>
                    <a:lnTo>
                      <a:pt x="204" y="20"/>
                    </a:lnTo>
                    <a:lnTo>
                      <a:pt x="182" y="0"/>
                    </a:lnTo>
                    <a:lnTo>
                      <a:pt x="180" y="10"/>
                    </a:lnTo>
                    <a:lnTo>
                      <a:pt x="137" y="7"/>
                    </a:lnTo>
                    <a:lnTo>
                      <a:pt x="117" y="30"/>
                    </a:lnTo>
                    <a:lnTo>
                      <a:pt x="97" y="30"/>
                    </a:lnTo>
                    <a:lnTo>
                      <a:pt x="87" y="18"/>
                    </a:lnTo>
                    <a:lnTo>
                      <a:pt x="64" y="22"/>
                    </a:lnTo>
                    <a:lnTo>
                      <a:pt x="59" y="32"/>
                    </a:lnTo>
                    <a:lnTo>
                      <a:pt x="27" y="37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56" name="Freeform 93">
                <a:extLst>
                  <a:ext uri="{FF2B5EF4-FFF2-40B4-BE49-F238E27FC236}">
                    <a16:creationId xmlns:a16="http://schemas.microsoft.com/office/drawing/2014/main" id="{EDFADEF3-EA6B-4EFF-B9AA-F0274AB9BE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1" y="1350"/>
                <a:ext cx="178" cy="84"/>
              </a:xfrm>
              <a:custGeom>
                <a:avLst/>
                <a:gdLst>
                  <a:gd name="T0" fmla="*/ 20 w 160"/>
                  <a:gd name="T1" fmla="*/ 0 h 75"/>
                  <a:gd name="T2" fmla="*/ 0 w 160"/>
                  <a:gd name="T3" fmla="*/ 18 h 75"/>
                  <a:gd name="T4" fmla="*/ 13 w 160"/>
                  <a:gd name="T5" fmla="*/ 35 h 75"/>
                  <a:gd name="T6" fmla="*/ 35 w 160"/>
                  <a:gd name="T7" fmla="*/ 61 h 75"/>
                  <a:gd name="T8" fmla="*/ 57 w 160"/>
                  <a:gd name="T9" fmla="*/ 71 h 75"/>
                  <a:gd name="T10" fmla="*/ 122 w 160"/>
                  <a:gd name="T11" fmla="*/ 64 h 75"/>
                  <a:gd name="T12" fmla="*/ 159 w 160"/>
                  <a:gd name="T13" fmla="*/ 74 h 75"/>
                  <a:gd name="T14" fmla="*/ 155 w 160"/>
                  <a:gd name="T15" fmla="*/ 46 h 75"/>
                  <a:gd name="T16" fmla="*/ 101 w 160"/>
                  <a:gd name="T17" fmla="*/ 43 h 75"/>
                  <a:gd name="T18" fmla="*/ 54 w 160"/>
                  <a:gd name="T19" fmla="*/ 31 h 75"/>
                  <a:gd name="T20" fmla="*/ 47 w 160"/>
                  <a:gd name="T21" fmla="*/ 3 h 75"/>
                  <a:gd name="T22" fmla="*/ 20 w 160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0" h="75">
                    <a:moveTo>
                      <a:pt x="20" y="0"/>
                    </a:moveTo>
                    <a:lnTo>
                      <a:pt x="0" y="18"/>
                    </a:lnTo>
                    <a:lnTo>
                      <a:pt x="13" y="35"/>
                    </a:lnTo>
                    <a:lnTo>
                      <a:pt x="35" y="61"/>
                    </a:lnTo>
                    <a:lnTo>
                      <a:pt x="57" y="71"/>
                    </a:lnTo>
                    <a:lnTo>
                      <a:pt x="122" y="64"/>
                    </a:lnTo>
                    <a:lnTo>
                      <a:pt x="159" y="74"/>
                    </a:lnTo>
                    <a:lnTo>
                      <a:pt x="155" y="46"/>
                    </a:lnTo>
                    <a:lnTo>
                      <a:pt x="101" y="43"/>
                    </a:lnTo>
                    <a:lnTo>
                      <a:pt x="54" y="31"/>
                    </a:lnTo>
                    <a:lnTo>
                      <a:pt x="47" y="3"/>
                    </a:lnTo>
                    <a:lnTo>
                      <a:pt x="20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57" name="Freeform 94">
                <a:extLst>
                  <a:ext uri="{FF2B5EF4-FFF2-40B4-BE49-F238E27FC236}">
                    <a16:creationId xmlns:a16="http://schemas.microsoft.com/office/drawing/2014/main" id="{7111780F-2895-469B-AD33-F4F7953505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98"/>
                <a:ext cx="39" cy="26"/>
              </a:xfrm>
              <a:custGeom>
                <a:avLst/>
                <a:gdLst>
                  <a:gd name="T0" fmla="*/ 13 w 34"/>
                  <a:gd name="T1" fmla="*/ 0 h 23"/>
                  <a:gd name="T2" fmla="*/ 0 w 34"/>
                  <a:gd name="T3" fmla="*/ 15 h 23"/>
                  <a:gd name="T4" fmla="*/ 18 w 34"/>
                  <a:gd name="T5" fmla="*/ 22 h 23"/>
                  <a:gd name="T6" fmla="*/ 33 w 34"/>
                  <a:gd name="T7" fmla="*/ 15 h 23"/>
                  <a:gd name="T8" fmla="*/ 30 w 34"/>
                  <a:gd name="T9" fmla="*/ 2 h 23"/>
                  <a:gd name="T10" fmla="*/ 13 w 34"/>
                  <a:gd name="T1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23">
                    <a:moveTo>
                      <a:pt x="13" y="0"/>
                    </a:moveTo>
                    <a:lnTo>
                      <a:pt x="0" y="15"/>
                    </a:lnTo>
                    <a:lnTo>
                      <a:pt x="18" y="22"/>
                    </a:lnTo>
                    <a:lnTo>
                      <a:pt x="33" y="15"/>
                    </a:lnTo>
                    <a:lnTo>
                      <a:pt x="30" y="2"/>
                    </a:lnTo>
                    <a:lnTo>
                      <a:pt x="13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58" name="Freeform 95">
                <a:extLst>
                  <a:ext uri="{FF2B5EF4-FFF2-40B4-BE49-F238E27FC236}">
                    <a16:creationId xmlns:a16="http://schemas.microsoft.com/office/drawing/2014/main" id="{6BA1E0F7-68DA-487A-AA14-B3FD4B476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4" y="1135"/>
                <a:ext cx="808" cy="682"/>
              </a:xfrm>
              <a:custGeom>
                <a:avLst/>
                <a:gdLst>
                  <a:gd name="T0" fmla="*/ 138 w 720"/>
                  <a:gd name="T1" fmla="*/ 83 h 608"/>
                  <a:gd name="T2" fmla="*/ 93 w 720"/>
                  <a:gd name="T3" fmla="*/ 123 h 608"/>
                  <a:gd name="T4" fmla="*/ 31 w 720"/>
                  <a:gd name="T5" fmla="*/ 155 h 608"/>
                  <a:gd name="T6" fmla="*/ 3 w 720"/>
                  <a:gd name="T7" fmla="*/ 175 h 608"/>
                  <a:gd name="T8" fmla="*/ 65 w 720"/>
                  <a:gd name="T9" fmla="*/ 187 h 608"/>
                  <a:gd name="T10" fmla="*/ 20 w 720"/>
                  <a:gd name="T11" fmla="*/ 195 h 608"/>
                  <a:gd name="T12" fmla="*/ 143 w 720"/>
                  <a:gd name="T13" fmla="*/ 220 h 608"/>
                  <a:gd name="T14" fmla="*/ 180 w 720"/>
                  <a:gd name="T15" fmla="*/ 285 h 608"/>
                  <a:gd name="T16" fmla="*/ 190 w 720"/>
                  <a:gd name="T17" fmla="*/ 342 h 608"/>
                  <a:gd name="T18" fmla="*/ 219 w 720"/>
                  <a:gd name="T19" fmla="*/ 354 h 608"/>
                  <a:gd name="T20" fmla="*/ 227 w 720"/>
                  <a:gd name="T21" fmla="*/ 377 h 608"/>
                  <a:gd name="T22" fmla="*/ 195 w 720"/>
                  <a:gd name="T23" fmla="*/ 422 h 608"/>
                  <a:gd name="T24" fmla="*/ 200 w 720"/>
                  <a:gd name="T25" fmla="*/ 490 h 608"/>
                  <a:gd name="T26" fmla="*/ 240 w 720"/>
                  <a:gd name="T27" fmla="*/ 582 h 608"/>
                  <a:gd name="T28" fmla="*/ 278 w 720"/>
                  <a:gd name="T29" fmla="*/ 607 h 608"/>
                  <a:gd name="T30" fmla="*/ 325 w 720"/>
                  <a:gd name="T31" fmla="*/ 540 h 608"/>
                  <a:gd name="T32" fmla="*/ 345 w 720"/>
                  <a:gd name="T33" fmla="*/ 485 h 608"/>
                  <a:gd name="T34" fmla="*/ 433 w 720"/>
                  <a:gd name="T35" fmla="*/ 465 h 608"/>
                  <a:gd name="T36" fmla="*/ 510 w 720"/>
                  <a:gd name="T37" fmla="*/ 425 h 608"/>
                  <a:gd name="T38" fmla="*/ 581 w 720"/>
                  <a:gd name="T39" fmla="*/ 367 h 608"/>
                  <a:gd name="T40" fmla="*/ 525 w 720"/>
                  <a:gd name="T41" fmla="*/ 354 h 608"/>
                  <a:gd name="T42" fmla="*/ 548 w 720"/>
                  <a:gd name="T43" fmla="*/ 332 h 608"/>
                  <a:gd name="T44" fmla="*/ 588 w 720"/>
                  <a:gd name="T45" fmla="*/ 358 h 608"/>
                  <a:gd name="T46" fmla="*/ 586 w 720"/>
                  <a:gd name="T47" fmla="*/ 318 h 608"/>
                  <a:gd name="T48" fmla="*/ 561 w 720"/>
                  <a:gd name="T49" fmla="*/ 290 h 608"/>
                  <a:gd name="T50" fmla="*/ 588 w 720"/>
                  <a:gd name="T51" fmla="*/ 298 h 608"/>
                  <a:gd name="T52" fmla="*/ 616 w 720"/>
                  <a:gd name="T53" fmla="*/ 280 h 608"/>
                  <a:gd name="T54" fmla="*/ 626 w 720"/>
                  <a:gd name="T55" fmla="*/ 267 h 608"/>
                  <a:gd name="T56" fmla="*/ 646 w 720"/>
                  <a:gd name="T57" fmla="*/ 237 h 608"/>
                  <a:gd name="T58" fmla="*/ 621 w 720"/>
                  <a:gd name="T59" fmla="*/ 210 h 608"/>
                  <a:gd name="T60" fmla="*/ 643 w 720"/>
                  <a:gd name="T61" fmla="*/ 195 h 608"/>
                  <a:gd name="T62" fmla="*/ 598 w 720"/>
                  <a:gd name="T63" fmla="*/ 168 h 608"/>
                  <a:gd name="T64" fmla="*/ 631 w 720"/>
                  <a:gd name="T65" fmla="*/ 128 h 608"/>
                  <a:gd name="T66" fmla="*/ 618 w 720"/>
                  <a:gd name="T67" fmla="*/ 105 h 608"/>
                  <a:gd name="T68" fmla="*/ 651 w 720"/>
                  <a:gd name="T69" fmla="*/ 95 h 608"/>
                  <a:gd name="T70" fmla="*/ 719 w 720"/>
                  <a:gd name="T71" fmla="*/ 63 h 608"/>
                  <a:gd name="T72" fmla="*/ 624 w 720"/>
                  <a:gd name="T73" fmla="*/ 68 h 608"/>
                  <a:gd name="T74" fmla="*/ 601 w 720"/>
                  <a:gd name="T75" fmla="*/ 50 h 608"/>
                  <a:gd name="T76" fmla="*/ 553 w 720"/>
                  <a:gd name="T77" fmla="*/ 45 h 608"/>
                  <a:gd name="T78" fmla="*/ 518 w 720"/>
                  <a:gd name="T79" fmla="*/ 37 h 608"/>
                  <a:gd name="T80" fmla="*/ 598 w 720"/>
                  <a:gd name="T81" fmla="*/ 23 h 608"/>
                  <a:gd name="T82" fmla="*/ 470 w 720"/>
                  <a:gd name="T83" fmla="*/ 20 h 608"/>
                  <a:gd name="T84" fmla="*/ 413 w 720"/>
                  <a:gd name="T85" fmla="*/ 3 h 608"/>
                  <a:gd name="T86" fmla="*/ 340 w 720"/>
                  <a:gd name="T87" fmla="*/ 15 h 608"/>
                  <a:gd name="T88" fmla="*/ 333 w 720"/>
                  <a:gd name="T89" fmla="*/ 58 h 608"/>
                  <a:gd name="T90" fmla="*/ 303 w 720"/>
                  <a:gd name="T91" fmla="*/ 41 h 608"/>
                  <a:gd name="T92" fmla="*/ 283 w 720"/>
                  <a:gd name="T93" fmla="*/ 65 h 608"/>
                  <a:gd name="T94" fmla="*/ 258 w 720"/>
                  <a:gd name="T95" fmla="*/ 45 h 608"/>
                  <a:gd name="T96" fmla="*/ 240 w 720"/>
                  <a:gd name="T97" fmla="*/ 55 h 608"/>
                  <a:gd name="T98" fmla="*/ 183 w 720"/>
                  <a:gd name="T99" fmla="*/ 50 h 608"/>
                  <a:gd name="T100" fmla="*/ 150 w 720"/>
                  <a:gd name="T101" fmla="*/ 65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20" h="608">
                    <a:moveTo>
                      <a:pt x="150" y="65"/>
                    </a:moveTo>
                    <a:lnTo>
                      <a:pt x="138" y="83"/>
                    </a:lnTo>
                    <a:lnTo>
                      <a:pt x="95" y="92"/>
                    </a:lnTo>
                    <a:lnTo>
                      <a:pt x="93" y="123"/>
                    </a:lnTo>
                    <a:lnTo>
                      <a:pt x="60" y="132"/>
                    </a:lnTo>
                    <a:lnTo>
                      <a:pt x="31" y="155"/>
                    </a:lnTo>
                    <a:lnTo>
                      <a:pt x="0" y="164"/>
                    </a:lnTo>
                    <a:lnTo>
                      <a:pt x="3" y="175"/>
                    </a:lnTo>
                    <a:lnTo>
                      <a:pt x="55" y="172"/>
                    </a:lnTo>
                    <a:lnTo>
                      <a:pt x="65" y="187"/>
                    </a:lnTo>
                    <a:lnTo>
                      <a:pt x="42" y="192"/>
                    </a:lnTo>
                    <a:lnTo>
                      <a:pt x="20" y="195"/>
                    </a:lnTo>
                    <a:lnTo>
                      <a:pt x="55" y="220"/>
                    </a:lnTo>
                    <a:lnTo>
                      <a:pt x="143" y="220"/>
                    </a:lnTo>
                    <a:lnTo>
                      <a:pt x="166" y="245"/>
                    </a:lnTo>
                    <a:lnTo>
                      <a:pt x="180" y="285"/>
                    </a:lnTo>
                    <a:lnTo>
                      <a:pt x="188" y="326"/>
                    </a:lnTo>
                    <a:lnTo>
                      <a:pt x="190" y="342"/>
                    </a:lnTo>
                    <a:lnTo>
                      <a:pt x="211" y="332"/>
                    </a:lnTo>
                    <a:lnTo>
                      <a:pt x="219" y="354"/>
                    </a:lnTo>
                    <a:lnTo>
                      <a:pt x="193" y="363"/>
                    </a:lnTo>
                    <a:lnTo>
                      <a:pt x="227" y="377"/>
                    </a:lnTo>
                    <a:lnTo>
                      <a:pt x="222" y="407"/>
                    </a:lnTo>
                    <a:lnTo>
                      <a:pt x="195" y="422"/>
                    </a:lnTo>
                    <a:lnTo>
                      <a:pt x="188" y="445"/>
                    </a:lnTo>
                    <a:lnTo>
                      <a:pt x="200" y="490"/>
                    </a:lnTo>
                    <a:lnTo>
                      <a:pt x="218" y="537"/>
                    </a:lnTo>
                    <a:lnTo>
                      <a:pt x="240" y="582"/>
                    </a:lnTo>
                    <a:lnTo>
                      <a:pt x="266" y="588"/>
                    </a:lnTo>
                    <a:lnTo>
                      <a:pt x="278" y="607"/>
                    </a:lnTo>
                    <a:lnTo>
                      <a:pt x="301" y="602"/>
                    </a:lnTo>
                    <a:lnTo>
                      <a:pt x="325" y="540"/>
                    </a:lnTo>
                    <a:lnTo>
                      <a:pt x="343" y="517"/>
                    </a:lnTo>
                    <a:lnTo>
                      <a:pt x="345" y="485"/>
                    </a:lnTo>
                    <a:lnTo>
                      <a:pt x="388" y="475"/>
                    </a:lnTo>
                    <a:lnTo>
                      <a:pt x="433" y="465"/>
                    </a:lnTo>
                    <a:lnTo>
                      <a:pt x="456" y="420"/>
                    </a:lnTo>
                    <a:lnTo>
                      <a:pt x="510" y="425"/>
                    </a:lnTo>
                    <a:lnTo>
                      <a:pt x="558" y="393"/>
                    </a:lnTo>
                    <a:lnTo>
                      <a:pt x="581" y="367"/>
                    </a:lnTo>
                    <a:lnTo>
                      <a:pt x="556" y="359"/>
                    </a:lnTo>
                    <a:lnTo>
                      <a:pt x="525" y="354"/>
                    </a:lnTo>
                    <a:lnTo>
                      <a:pt x="531" y="337"/>
                    </a:lnTo>
                    <a:lnTo>
                      <a:pt x="548" y="332"/>
                    </a:lnTo>
                    <a:lnTo>
                      <a:pt x="569" y="348"/>
                    </a:lnTo>
                    <a:lnTo>
                      <a:pt x="588" y="358"/>
                    </a:lnTo>
                    <a:lnTo>
                      <a:pt x="598" y="342"/>
                    </a:lnTo>
                    <a:lnTo>
                      <a:pt x="586" y="318"/>
                    </a:lnTo>
                    <a:lnTo>
                      <a:pt x="558" y="307"/>
                    </a:lnTo>
                    <a:lnTo>
                      <a:pt x="561" y="290"/>
                    </a:lnTo>
                    <a:lnTo>
                      <a:pt x="581" y="290"/>
                    </a:lnTo>
                    <a:lnTo>
                      <a:pt x="588" y="298"/>
                    </a:lnTo>
                    <a:lnTo>
                      <a:pt x="596" y="285"/>
                    </a:lnTo>
                    <a:lnTo>
                      <a:pt x="616" y="280"/>
                    </a:lnTo>
                    <a:lnTo>
                      <a:pt x="609" y="267"/>
                    </a:lnTo>
                    <a:lnTo>
                      <a:pt x="626" y="267"/>
                    </a:lnTo>
                    <a:lnTo>
                      <a:pt x="641" y="253"/>
                    </a:lnTo>
                    <a:lnTo>
                      <a:pt x="646" y="237"/>
                    </a:lnTo>
                    <a:lnTo>
                      <a:pt x="624" y="227"/>
                    </a:lnTo>
                    <a:lnTo>
                      <a:pt x="621" y="210"/>
                    </a:lnTo>
                    <a:lnTo>
                      <a:pt x="631" y="198"/>
                    </a:lnTo>
                    <a:lnTo>
                      <a:pt x="643" y="195"/>
                    </a:lnTo>
                    <a:lnTo>
                      <a:pt x="641" y="172"/>
                    </a:lnTo>
                    <a:lnTo>
                      <a:pt x="598" y="168"/>
                    </a:lnTo>
                    <a:lnTo>
                      <a:pt x="609" y="142"/>
                    </a:lnTo>
                    <a:lnTo>
                      <a:pt x="631" y="128"/>
                    </a:lnTo>
                    <a:lnTo>
                      <a:pt x="643" y="117"/>
                    </a:lnTo>
                    <a:lnTo>
                      <a:pt x="618" y="105"/>
                    </a:lnTo>
                    <a:lnTo>
                      <a:pt x="636" y="97"/>
                    </a:lnTo>
                    <a:lnTo>
                      <a:pt x="651" y="95"/>
                    </a:lnTo>
                    <a:lnTo>
                      <a:pt x="686" y="85"/>
                    </a:lnTo>
                    <a:lnTo>
                      <a:pt x="719" y="63"/>
                    </a:lnTo>
                    <a:lnTo>
                      <a:pt x="656" y="58"/>
                    </a:lnTo>
                    <a:lnTo>
                      <a:pt x="624" y="68"/>
                    </a:lnTo>
                    <a:lnTo>
                      <a:pt x="578" y="91"/>
                    </a:lnTo>
                    <a:lnTo>
                      <a:pt x="601" y="50"/>
                    </a:lnTo>
                    <a:lnTo>
                      <a:pt x="550" y="68"/>
                    </a:lnTo>
                    <a:lnTo>
                      <a:pt x="553" y="45"/>
                    </a:lnTo>
                    <a:lnTo>
                      <a:pt x="470" y="53"/>
                    </a:lnTo>
                    <a:lnTo>
                      <a:pt x="518" y="37"/>
                    </a:lnTo>
                    <a:lnTo>
                      <a:pt x="578" y="28"/>
                    </a:lnTo>
                    <a:lnTo>
                      <a:pt x="598" y="23"/>
                    </a:lnTo>
                    <a:lnTo>
                      <a:pt x="558" y="8"/>
                    </a:lnTo>
                    <a:lnTo>
                      <a:pt x="470" y="20"/>
                    </a:lnTo>
                    <a:lnTo>
                      <a:pt x="518" y="0"/>
                    </a:lnTo>
                    <a:lnTo>
                      <a:pt x="413" y="3"/>
                    </a:lnTo>
                    <a:lnTo>
                      <a:pt x="383" y="30"/>
                    </a:lnTo>
                    <a:lnTo>
                      <a:pt x="340" y="15"/>
                    </a:lnTo>
                    <a:lnTo>
                      <a:pt x="340" y="36"/>
                    </a:lnTo>
                    <a:lnTo>
                      <a:pt x="333" y="58"/>
                    </a:lnTo>
                    <a:lnTo>
                      <a:pt x="318" y="41"/>
                    </a:lnTo>
                    <a:lnTo>
                      <a:pt x="303" y="41"/>
                    </a:lnTo>
                    <a:lnTo>
                      <a:pt x="283" y="41"/>
                    </a:lnTo>
                    <a:lnTo>
                      <a:pt x="283" y="65"/>
                    </a:lnTo>
                    <a:lnTo>
                      <a:pt x="261" y="65"/>
                    </a:lnTo>
                    <a:lnTo>
                      <a:pt x="258" y="45"/>
                    </a:lnTo>
                    <a:lnTo>
                      <a:pt x="235" y="43"/>
                    </a:lnTo>
                    <a:lnTo>
                      <a:pt x="240" y="55"/>
                    </a:lnTo>
                    <a:lnTo>
                      <a:pt x="200" y="41"/>
                    </a:lnTo>
                    <a:lnTo>
                      <a:pt x="183" y="50"/>
                    </a:lnTo>
                    <a:lnTo>
                      <a:pt x="167" y="50"/>
                    </a:lnTo>
                    <a:lnTo>
                      <a:pt x="150" y="6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59" name="Freeform 96">
                <a:extLst>
                  <a:ext uri="{FF2B5EF4-FFF2-40B4-BE49-F238E27FC236}">
                    <a16:creationId xmlns:a16="http://schemas.microsoft.com/office/drawing/2014/main" id="{AFADC115-C3B5-4315-B44C-25A7C5BA41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6" y="1520"/>
                <a:ext cx="26" cy="33"/>
              </a:xfrm>
              <a:custGeom>
                <a:avLst/>
                <a:gdLst>
                  <a:gd name="T0" fmla="*/ 8 w 24"/>
                  <a:gd name="T1" fmla="*/ 0 h 29"/>
                  <a:gd name="T2" fmla="*/ 0 w 24"/>
                  <a:gd name="T3" fmla="*/ 28 h 29"/>
                  <a:gd name="T4" fmla="*/ 23 w 24"/>
                  <a:gd name="T5" fmla="*/ 10 h 29"/>
                  <a:gd name="T6" fmla="*/ 8 w 24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9">
                    <a:moveTo>
                      <a:pt x="8" y="0"/>
                    </a:moveTo>
                    <a:lnTo>
                      <a:pt x="0" y="28"/>
                    </a:lnTo>
                    <a:lnTo>
                      <a:pt x="23" y="10"/>
                    </a:lnTo>
                    <a:lnTo>
                      <a:pt x="8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60" name="Freeform 97">
                <a:extLst>
                  <a:ext uri="{FF2B5EF4-FFF2-40B4-BE49-F238E27FC236}">
                    <a16:creationId xmlns:a16="http://schemas.microsoft.com/office/drawing/2014/main" id="{E04C1FA8-720C-40CA-9EEB-F88ED52E89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3" y="2612"/>
                <a:ext cx="166" cy="73"/>
              </a:xfrm>
              <a:custGeom>
                <a:avLst/>
                <a:gdLst>
                  <a:gd name="T0" fmla="*/ 0 w 148"/>
                  <a:gd name="T1" fmla="*/ 19 h 65"/>
                  <a:gd name="T2" fmla="*/ 14 w 148"/>
                  <a:gd name="T3" fmla="*/ 6 h 65"/>
                  <a:gd name="T4" fmla="*/ 26 w 148"/>
                  <a:gd name="T5" fmla="*/ 0 h 65"/>
                  <a:gd name="T6" fmla="*/ 46 w 148"/>
                  <a:gd name="T7" fmla="*/ 3 h 65"/>
                  <a:gd name="T8" fmla="*/ 74 w 148"/>
                  <a:gd name="T9" fmla="*/ 9 h 65"/>
                  <a:gd name="T10" fmla="*/ 100 w 148"/>
                  <a:gd name="T11" fmla="*/ 23 h 65"/>
                  <a:gd name="T12" fmla="*/ 140 w 148"/>
                  <a:gd name="T13" fmla="*/ 42 h 65"/>
                  <a:gd name="T14" fmla="*/ 147 w 148"/>
                  <a:gd name="T15" fmla="*/ 52 h 65"/>
                  <a:gd name="T16" fmla="*/ 127 w 148"/>
                  <a:gd name="T17" fmla="*/ 64 h 65"/>
                  <a:gd name="T18" fmla="*/ 96 w 148"/>
                  <a:gd name="T19" fmla="*/ 61 h 65"/>
                  <a:gd name="T20" fmla="*/ 100 w 148"/>
                  <a:gd name="T21" fmla="*/ 45 h 65"/>
                  <a:gd name="T22" fmla="*/ 90 w 148"/>
                  <a:gd name="T23" fmla="*/ 35 h 65"/>
                  <a:gd name="T24" fmla="*/ 68 w 148"/>
                  <a:gd name="T25" fmla="*/ 20 h 65"/>
                  <a:gd name="T26" fmla="*/ 60 w 148"/>
                  <a:gd name="T27" fmla="*/ 17 h 65"/>
                  <a:gd name="T28" fmla="*/ 17 w 148"/>
                  <a:gd name="T29" fmla="*/ 13 h 65"/>
                  <a:gd name="T30" fmla="*/ 0 w 148"/>
                  <a:gd name="T31" fmla="*/ 1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8" h="65">
                    <a:moveTo>
                      <a:pt x="0" y="19"/>
                    </a:moveTo>
                    <a:lnTo>
                      <a:pt x="14" y="6"/>
                    </a:lnTo>
                    <a:lnTo>
                      <a:pt x="26" y="0"/>
                    </a:lnTo>
                    <a:lnTo>
                      <a:pt x="46" y="3"/>
                    </a:lnTo>
                    <a:lnTo>
                      <a:pt x="74" y="9"/>
                    </a:lnTo>
                    <a:lnTo>
                      <a:pt x="100" y="23"/>
                    </a:lnTo>
                    <a:lnTo>
                      <a:pt x="140" y="42"/>
                    </a:lnTo>
                    <a:lnTo>
                      <a:pt x="147" y="52"/>
                    </a:lnTo>
                    <a:lnTo>
                      <a:pt x="127" y="64"/>
                    </a:lnTo>
                    <a:lnTo>
                      <a:pt x="96" y="61"/>
                    </a:lnTo>
                    <a:lnTo>
                      <a:pt x="100" y="45"/>
                    </a:lnTo>
                    <a:lnTo>
                      <a:pt x="90" y="35"/>
                    </a:lnTo>
                    <a:lnTo>
                      <a:pt x="68" y="20"/>
                    </a:lnTo>
                    <a:lnTo>
                      <a:pt x="60" y="17"/>
                    </a:lnTo>
                    <a:lnTo>
                      <a:pt x="17" y="13"/>
                    </a:lnTo>
                    <a:lnTo>
                      <a:pt x="0" y="1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61" name="Freeform 98">
                <a:extLst>
                  <a:ext uri="{FF2B5EF4-FFF2-40B4-BE49-F238E27FC236}">
                    <a16:creationId xmlns:a16="http://schemas.microsoft.com/office/drawing/2014/main" id="{8377684F-E5E0-4337-BB93-CBB17640A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9" y="2865"/>
                <a:ext cx="97" cy="54"/>
              </a:xfrm>
              <a:custGeom>
                <a:avLst/>
                <a:gdLst>
                  <a:gd name="T0" fmla="*/ 13 w 87"/>
                  <a:gd name="T1" fmla="*/ 4 h 49"/>
                  <a:gd name="T2" fmla="*/ 0 w 87"/>
                  <a:gd name="T3" fmla="*/ 11 h 49"/>
                  <a:gd name="T4" fmla="*/ 1 w 87"/>
                  <a:gd name="T5" fmla="*/ 26 h 49"/>
                  <a:gd name="T6" fmla="*/ 30 w 87"/>
                  <a:gd name="T7" fmla="*/ 30 h 49"/>
                  <a:gd name="T8" fmla="*/ 41 w 87"/>
                  <a:gd name="T9" fmla="*/ 40 h 49"/>
                  <a:gd name="T10" fmla="*/ 54 w 87"/>
                  <a:gd name="T11" fmla="*/ 33 h 49"/>
                  <a:gd name="T12" fmla="*/ 49 w 87"/>
                  <a:gd name="T13" fmla="*/ 22 h 49"/>
                  <a:gd name="T14" fmla="*/ 63 w 87"/>
                  <a:gd name="T15" fmla="*/ 21 h 49"/>
                  <a:gd name="T16" fmla="*/ 77 w 87"/>
                  <a:gd name="T17" fmla="*/ 37 h 49"/>
                  <a:gd name="T18" fmla="*/ 83 w 87"/>
                  <a:gd name="T19" fmla="*/ 48 h 49"/>
                  <a:gd name="T20" fmla="*/ 86 w 87"/>
                  <a:gd name="T21" fmla="*/ 17 h 49"/>
                  <a:gd name="T22" fmla="*/ 67 w 87"/>
                  <a:gd name="T23" fmla="*/ 4 h 49"/>
                  <a:gd name="T24" fmla="*/ 52 w 87"/>
                  <a:gd name="T25" fmla="*/ 0 h 49"/>
                  <a:gd name="T26" fmla="*/ 40 w 87"/>
                  <a:gd name="T27" fmla="*/ 11 h 49"/>
                  <a:gd name="T28" fmla="*/ 13 w 87"/>
                  <a:gd name="T29" fmla="*/ 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" h="49">
                    <a:moveTo>
                      <a:pt x="13" y="4"/>
                    </a:moveTo>
                    <a:lnTo>
                      <a:pt x="0" y="11"/>
                    </a:lnTo>
                    <a:lnTo>
                      <a:pt x="1" y="26"/>
                    </a:lnTo>
                    <a:lnTo>
                      <a:pt x="30" y="30"/>
                    </a:lnTo>
                    <a:lnTo>
                      <a:pt x="41" y="40"/>
                    </a:lnTo>
                    <a:lnTo>
                      <a:pt x="54" y="33"/>
                    </a:lnTo>
                    <a:lnTo>
                      <a:pt x="49" y="22"/>
                    </a:lnTo>
                    <a:lnTo>
                      <a:pt x="63" y="21"/>
                    </a:lnTo>
                    <a:lnTo>
                      <a:pt x="77" y="37"/>
                    </a:lnTo>
                    <a:lnTo>
                      <a:pt x="83" y="48"/>
                    </a:lnTo>
                    <a:lnTo>
                      <a:pt x="86" y="17"/>
                    </a:lnTo>
                    <a:lnTo>
                      <a:pt x="67" y="4"/>
                    </a:lnTo>
                    <a:lnTo>
                      <a:pt x="52" y="0"/>
                    </a:lnTo>
                    <a:lnTo>
                      <a:pt x="40" y="11"/>
                    </a:lnTo>
                    <a:lnTo>
                      <a:pt x="13" y="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62" name="Freeform 99">
                <a:extLst>
                  <a:ext uri="{FF2B5EF4-FFF2-40B4-BE49-F238E27FC236}">
                    <a16:creationId xmlns:a16="http://schemas.microsoft.com/office/drawing/2014/main" id="{67E6CB25-CAAD-496B-95E9-29ECDF0857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6" y="3024"/>
                <a:ext cx="123" cy="114"/>
              </a:xfrm>
              <a:custGeom>
                <a:avLst/>
                <a:gdLst>
                  <a:gd name="T0" fmla="*/ 109 w 110"/>
                  <a:gd name="T1" fmla="*/ 47 h 101"/>
                  <a:gd name="T2" fmla="*/ 96 w 110"/>
                  <a:gd name="T3" fmla="*/ 31 h 101"/>
                  <a:gd name="T4" fmla="*/ 81 w 110"/>
                  <a:gd name="T5" fmla="*/ 20 h 101"/>
                  <a:gd name="T6" fmla="*/ 70 w 110"/>
                  <a:gd name="T7" fmla="*/ 11 h 101"/>
                  <a:gd name="T8" fmla="*/ 47 w 110"/>
                  <a:gd name="T9" fmla="*/ 12 h 101"/>
                  <a:gd name="T10" fmla="*/ 26 w 110"/>
                  <a:gd name="T11" fmla="*/ 0 h 101"/>
                  <a:gd name="T12" fmla="*/ 14 w 110"/>
                  <a:gd name="T13" fmla="*/ 6 h 101"/>
                  <a:gd name="T14" fmla="*/ 11 w 110"/>
                  <a:gd name="T15" fmla="*/ 23 h 101"/>
                  <a:gd name="T16" fmla="*/ 4 w 110"/>
                  <a:gd name="T17" fmla="*/ 32 h 101"/>
                  <a:gd name="T18" fmla="*/ 0 w 110"/>
                  <a:gd name="T19" fmla="*/ 43 h 101"/>
                  <a:gd name="T20" fmla="*/ 4 w 110"/>
                  <a:gd name="T21" fmla="*/ 54 h 101"/>
                  <a:gd name="T22" fmla="*/ 14 w 110"/>
                  <a:gd name="T23" fmla="*/ 63 h 101"/>
                  <a:gd name="T24" fmla="*/ 15 w 110"/>
                  <a:gd name="T25" fmla="*/ 74 h 101"/>
                  <a:gd name="T26" fmla="*/ 15 w 110"/>
                  <a:gd name="T27" fmla="*/ 89 h 101"/>
                  <a:gd name="T28" fmla="*/ 26 w 110"/>
                  <a:gd name="T29" fmla="*/ 100 h 101"/>
                  <a:gd name="T30" fmla="*/ 41 w 110"/>
                  <a:gd name="T31" fmla="*/ 89 h 101"/>
                  <a:gd name="T32" fmla="*/ 60 w 110"/>
                  <a:gd name="T33" fmla="*/ 75 h 101"/>
                  <a:gd name="T34" fmla="*/ 101 w 110"/>
                  <a:gd name="T35" fmla="*/ 57 h 101"/>
                  <a:gd name="T36" fmla="*/ 109 w 110"/>
                  <a:gd name="T37" fmla="*/ 47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0" h="101">
                    <a:moveTo>
                      <a:pt x="109" y="47"/>
                    </a:moveTo>
                    <a:lnTo>
                      <a:pt x="96" y="31"/>
                    </a:lnTo>
                    <a:lnTo>
                      <a:pt x="81" y="20"/>
                    </a:lnTo>
                    <a:lnTo>
                      <a:pt x="70" y="11"/>
                    </a:lnTo>
                    <a:lnTo>
                      <a:pt x="47" y="12"/>
                    </a:lnTo>
                    <a:lnTo>
                      <a:pt x="26" y="0"/>
                    </a:lnTo>
                    <a:lnTo>
                      <a:pt x="14" y="6"/>
                    </a:lnTo>
                    <a:lnTo>
                      <a:pt x="11" y="23"/>
                    </a:lnTo>
                    <a:lnTo>
                      <a:pt x="4" y="32"/>
                    </a:lnTo>
                    <a:lnTo>
                      <a:pt x="0" y="43"/>
                    </a:lnTo>
                    <a:lnTo>
                      <a:pt x="4" y="54"/>
                    </a:lnTo>
                    <a:lnTo>
                      <a:pt x="14" y="63"/>
                    </a:lnTo>
                    <a:lnTo>
                      <a:pt x="15" y="74"/>
                    </a:lnTo>
                    <a:lnTo>
                      <a:pt x="15" y="89"/>
                    </a:lnTo>
                    <a:lnTo>
                      <a:pt x="26" y="100"/>
                    </a:lnTo>
                    <a:lnTo>
                      <a:pt x="41" y="89"/>
                    </a:lnTo>
                    <a:lnTo>
                      <a:pt x="60" y="75"/>
                    </a:lnTo>
                    <a:lnTo>
                      <a:pt x="101" y="57"/>
                    </a:lnTo>
                    <a:lnTo>
                      <a:pt x="109" y="47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63" name="Freeform 100">
                <a:extLst>
                  <a:ext uri="{FF2B5EF4-FFF2-40B4-BE49-F238E27FC236}">
                    <a16:creationId xmlns:a16="http://schemas.microsoft.com/office/drawing/2014/main" id="{C94D9039-464F-46C2-B22D-50EDE10A4E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6" y="2885"/>
                <a:ext cx="71" cy="140"/>
              </a:xfrm>
              <a:custGeom>
                <a:avLst/>
                <a:gdLst>
                  <a:gd name="T0" fmla="*/ 18 w 64"/>
                  <a:gd name="T1" fmla="*/ 0 h 125"/>
                  <a:gd name="T2" fmla="*/ 18 w 64"/>
                  <a:gd name="T3" fmla="*/ 14 h 125"/>
                  <a:gd name="T4" fmla="*/ 12 w 64"/>
                  <a:gd name="T5" fmla="*/ 20 h 125"/>
                  <a:gd name="T6" fmla="*/ 9 w 64"/>
                  <a:gd name="T7" fmla="*/ 28 h 125"/>
                  <a:gd name="T8" fmla="*/ 1 w 64"/>
                  <a:gd name="T9" fmla="*/ 36 h 125"/>
                  <a:gd name="T10" fmla="*/ 0 w 64"/>
                  <a:gd name="T11" fmla="*/ 50 h 125"/>
                  <a:gd name="T12" fmla="*/ 7 w 64"/>
                  <a:gd name="T13" fmla="*/ 59 h 125"/>
                  <a:gd name="T14" fmla="*/ 7 w 64"/>
                  <a:gd name="T15" fmla="*/ 70 h 125"/>
                  <a:gd name="T16" fmla="*/ 18 w 64"/>
                  <a:gd name="T17" fmla="*/ 73 h 125"/>
                  <a:gd name="T18" fmla="*/ 22 w 64"/>
                  <a:gd name="T19" fmla="*/ 90 h 125"/>
                  <a:gd name="T20" fmla="*/ 18 w 64"/>
                  <a:gd name="T21" fmla="*/ 101 h 125"/>
                  <a:gd name="T22" fmla="*/ 25 w 64"/>
                  <a:gd name="T23" fmla="*/ 116 h 125"/>
                  <a:gd name="T24" fmla="*/ 32 w 64"/>
                  <a:gd name="T25" fmla="*/ 124 h 125"/>
                  <a:gd name="T26" fmla="*/ 41 w 64"/>
                  <a:gd name="T27" fmla="*/ 123 h 125"/>
                  <a:gd name="T28" fmla="*/ 45 w 64"/>
                  <a:gd name="T29" fmla="*/ 117 h 125"/>
                  <a:gd name="T30" fmla="*/ 57 w 64"/>
                  <a:gd name="T31" fmla="*/ 116 h 125"/>
                  <a:gd name="T32" fmla="*/ 60 w 64"/>
                  <a:gd name="T33" fmla="*/ 109 h 125"/>
                  <a:gd name="T34" fmla="*/ 59 w 64"/>
                  <a:gd name="T35" fmla="*/ 94 h 125"/>
                  <a:gd name="T36" fmla="*/ 50 w 64"/>
                  <a:gd name="T37" fmla="*/ 89 h 125"/>
                  <a:gd name="T38" fmla="*/ 45 w 64"/>
                  <a:gd name="T39" fmla="*/ 83 h 125"/>
                  <a:gd name="T40" fmla="*/ 45 w 64"/>
                  <a:gd name="T41" fmla="*/ 70 h 125"/>
                  <a:gd name="T42" fmla="*/ 51 w 64"/>
                  <a:gd name="T43" fmla="*/ 65 h 125"/>
                  <a:gd name="T44" fmla="*/ 61 w 64"/>
                  <a:gd name="T45" fmla="*/ 66 h 125"/>
                  <a:gd name="T46" fmla="*/ 63 w 64"/>
                  <a:gd name="T47" fmla="*/ 51 h 125"/>
                  <a:gd name="T48" fmla="*/ 61 w 64"/>
                  <a:gd name="T49" fmla="*/ 36 h 125"/>
                  <a:gd name="T50" fmla="*/ 55 w 64"/>
                  <a:gd name="T51" fmla="*/ 30 h 125"/>
                  <a:gd name="T52" fmla="*/ 44 w 64"/>
                  <a:gd name="T53" fmla="*/ 29 h 125"/>
                  <a:gd name="T54" fmla="*/ 41 w 64"/>
                  <a:gd name="T55" fmla="*/ 15 h 125"/>
                  <a:gd name="T56" fmla="*/ 33 w 64"/>
                  <a:gd name="T57" fmla="*/ 14 h 125"/>
                  <a:gd name="T58" fmla="*/ 29 w 64"/>
                  <a:gd name="T59" fmla="*/ 2 h 125"/>
                  <a:gd name="T60" fmla="*/ 18 w 64"/>
                  <a:gd name="T61" fmla="*/ 0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4" h="125">
                    <a:moveTo>
                      <a:pt x="18" y="0"/>
                    </a:moveTo>
                    <a:lnTo>
                      <a:pt x="18" y="14"/>
                    </a:lnTo>
                    <a:lnTo>
                      <a:pt x="12" y="20"/>
                    </a:lnTo>
                    <a:lnTo>
                      <a:pt x="9" y="28"/>
                    </a:lnTo>
                    <a:lnTo>
                      <a:pt x="1" y="36"/>
                    </a:lnTo>
                    <a:lnTo>
                      <a:pt x="0" y="50"/>
                    </a:lnTo>
                    <a:lnTo>
                      <a:pt x="7" y="59"/>
                    </a:lnTo>
                    <a:lnTo>
                      <a:pt x="7" y="70"/>
                    </a:lnTo>
                    <a:lnTo>
                      <a:pt x="18" y="73"/>
                    </a:lnTo>
                    <a:lnTo>
                      <a:pt x="22" y="90"/>
                    </a:lnTo>
                    <a:lnTo>
                      <a:pt x="18" y="101"/>
                    </a:lnTo>
                    <a:lnTo>
                      <a:pt x="25" y="116"/>
                    </a:lnTo>
                    <a:lnTo>
                      <a:pt x="32" y="124"/>
                    </a:lnTo>
                    <a:lnTo>
                      <a:pt x="41" y="123"/>
                    </a:lnTo>
                    <a:lnTo>
                      <a:pt x="45" y="117"/>
                    </a:lnTo>
                    <a:lnTo>
                      <a:pt x="57" y="116"/>
                    </a:lnTo>
                    <a:lnTo>
                      <a:pt x="60" y="109"/>
                    </a:lnTo>
                    <a:lnTo>
                      <a:pt x="59" y="94"/>
                    </a:lnTo>
                    <a:lnTo>
                      <a:pt x="50" y="89"/>
                    </a:lnTo>
                    <a:lnTo>
                      <a:pt x="45" y="83"/>
                    </a:lnTo>
                    <a:lnTo>
                      <a:pt x="45" y="70"/>
                    </a:lnTo>
                    <a:lnTo>
                      <a:pt x="51" y="65"/>
                    </a:lnTo>
                    <a:lnTo>
                      <a:pt x="61" y="66"/>
                    </a:lnTo>
                    <a:lnTo>
                      <a:pt x="63" y="51"/>
                    </a:lnTo>
                    <a:lnTo>
                      <a:pt x="61" y="36"/>
                    </a:lnTo>
                    <a:lnTo>
                      <a:pt x="55" y="30"/>
                    </a:lnTo>
                    <a:lnTo>
                      <a:pt x="44" y="29"/>
                    </a:lnTo>
                    <a:lnTo>
                      <a:pt x="41" y="15"/>
                    </a:lnTo>
                    <a:lnTo>
                      <a:pt x="33" y="14"/>
                    </a:lnTo>
                    <a:lnTo>
                      <a:pt x="29" y="2"/>
                    </a:lnTo>
                    <a:lnTo>
                      <a:pt x="18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64" name="Freeform 101">
                <a:extLst>
                  <a:ext uri="{FF2B5EF4-FFF2-40B4-BE49-F238E27FC236}">
                    <a16:creationId xmlns:a16="http://schemas.microsoft.com/office/drawing/2014/main" id="{89772927-67BC-430E-BD3B-9032D8D190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5" y="2925"/>
                <a:ext cx="67" cy="92"/>
              </a:xfrm>
              <a:custGeom>
                <a:avLst/>
                <a:gdLst>
                  <a:gd name="T0" fmla="*/ 19 w 61"/>
                  <a:gd name="T1" fmla="*/ 15 h 82"/>
                  <a:gd name="T2" fmla="*/ 17 w 61"/>
                  <a:gd name="T3" fmla="*/ 30 h 82"/>
                  <a:gd name="T4" fmla="*/ 7 w 61"/>
                  <a:gd name="T5" fmla="*/ 29 h 82"/>
                  <a:gd name="T6" fmla="*/ 0 w 61"/>
                  <a:gd name="T7" fmla="*/ 34 h 82"/>
                  <a:gd name="T8" fmla="*/ 1 w 61"/>
                  <a:gd name="T9" fmla="*/ 47 h 82"/>
                  <a:gd name="T10" fmla="*/ 6 w 61"/>
                  <a:gd name="T11" fmla="*/ 53 h 82"/>
                  <a:gd name="T12" fmla="*/ 14 w 61"/>
                  <a:gd name="T13" fmla="*/ 59 h 82"/>
                  <a:gd name="T14" fmla="*/ 15 w 61"/>
                  <a:gd name="T15" fmla="*/ 73 h 82"/>
                  <a:gd name="T16" fmla="*/ 13 w 61"/>
                  <a:gd name="T17" fmla="*/ 81 h 82"/>
                  <a:gd name="T18" fmla="*/ 30 w 61"/>
                  <a:gd name="T19" fmla="*/ 80 h 82"/>
                  <a:gd name="T20" fmla="*/ 30 w 61"/>
                  <a:gd name="T21" fmla="*/ 67 h 82"/>
                  <a:gd name="T22" fmla="*/ 52 w 61"/>
                  <a:gd name="T23" fmla="*/ 65 h 82"/>
                  <a:gd name="T24" fmla="*/ 56 w 61"/>
                  <a:gd name="T25" fmla="*/ 61 h 82"/>
                  <a:gd name="T26" fmla="*/ 56 w 61"/>
                  <a:gd name="T27" fmla="*/ 19 h 82"/>
                  <a:gd name="T28" fmla="*/ 60 w 61"/>
                  <a:gd name="T29" fmla="*/ 10 h 82"/>
                  <a:gd name="T30" fmla="*/ 54 w 61"/>
                  <a:gd name="T31" fmla="*/ 0 h 82"/>
                  <a:gd name="T32" fmla="*/ 37 w 61"/>
                  <a:gd name="T33" fmla="*/ 0 h 82"/>
                  <a:gd name="T34" fmla="*/ 32 w 61"/>
                  <a:gd name="T35" fmla="*/ 8 h 82"/>
                  <a:gd name="T36" fmla="*/ 19 w 61"/>
                  <a:gd name="T37" fmla="*/ 15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" h="82">
                    <a:moveTo>
                      <a:pt x="19" y="15"/>
                    </a:moveTo>
                    <a:lnTo>
                      <a:pt x="17" y="30"/>
                    </a:lnTo>
                    <a:lnTo>
                      <a:pt x="7" y="29"/>
                    </a:lnTo>
                    <a:lnTo>
                      <a:pt x="0" y="34"/>
                    </a:lnTo>
                    <a:lnTo>
                      <a:pt x="1" y="47"/>
                    </a:lnTo>
                    <a:lnTo>
                      <a:pt x="6" y="53"/>
                    </a:lnTo>
                    <a:lnTo>
                      <a:pt x="14" y="59"/>
                    </a:lnTo>
                    <a:lnTo>
                      <a:pt x="15" y="73"/>
                    </a:lnTo>
                    <a:lnTo>
                      <a:pt x="13" y="81"/>
                    </a:lnTo>
                    <a:lnTo>
                      <a:pt x="30" y="80"/>
                    </a:lnTo>
                    <a:lnTo>
                      <a:pt x="30" y="67"/>
                    </a:lnTo>
                    <a:lnTo>
                      <a:pt x="52" y="65"/>
                    </a:lnTo>
                    <a:lnTo>
                      <a:pt x="56" y="61"/>
                    </a:lnTo>
                    <a:lnTo>
                      <a:pt x="56" y="19"/>
                    </a:lnTo>
                    <a:lnTo>
                      <a:pt x="60" y="10"/>
                    </a:lnTo>
                    <a:lnTo>
                      <a:pt x="54" y="0"/>
                    </a:lnTo>
                    <a:lnTo>
                      <a:pt x="37" y="0"/>
                    </a:lnTo>
                    <a:lnTo>
                      <a:pt x="32" y="8"/>
                    </a:lnTo>
                    <a:lnTo>
                      <a:pt x="19" y="1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65" name="Freeform 102">
                <a:extLst>
                  <a:ext uri="{FF2B5EF4-FFF2-40B4-BE49-F238E27FC236}">
                    <a16:creationId xmlns:a16="http://schemas.microsoft.com/office/drawing/2014/main" id="{6A698C1B-95B0-45C7-9E4B-ED60E866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8" y="2963"/>
                <a:ext cx="644" cy="720"/>
              </a:xfrm>
              <a:custGeom>
                <a:avLst/>
                <a:gdLst>
                  <a:gd name="T0" fmla="*/ 58 w 573"/>
                  <a:gd name="T1" fmla="*/ 58 h 641"/>
                  <a:gd name="T2" fmla="*/ 62 w 573"/>
                  <a:gd name="T3" fmla="*/ 98 h 641"/>
                  <a:gd name="T4" fmla="*/ 57 w 573"/>
                  <a:gd name="T5" fmla="*/ 131 h 641"/>
                  <a:gd name="T6" fmla="*/ 29 w 573"/>
                  <a:gd name="T7" fmla="*/ 147 h 641"/>
                  <a:gd name="T8" fmla="*/ 18 w 573"/>
                  <a:gd name="T9" fmla="*/ 178 h 641"/>
                  <a:gd name="T10" fmla="*/ 0 w 573"/>
                  <a:gd name="T11" fmla="*/ 201 h 641"/>
                  <a:gd name="T12" fmla="*/ 17 w 573"/>
                  <a:gd name="T13" fmla="*/ 228 h 641"/>
                  <a:gd name="T14" fmla="*/ 42 w 573"/>
                  <a:gd name="T15" fmla="*/ 241 h 641"/>
                  <a:gd name="T16" fmla="*/ 71 w 573"/>
                  <a:gd name="T17" fmla="*/ 259 h 641"/>
                  <a:gd name="T18" fmla="*/ 96 w 573"/>
                  <a:gd name="T19" fmla="*/ 252 h 641"/>
                  <a:gd name="T20" fmla="*/ 108 w 573"/>
                  <a:gd name="T21" fmla="*/ 235 h 641"/>
                  <a:gd name="T22" fmla="*/ 136 w 573"/>
                  <a:gd name="T23" fmla="*/ 277 h 641"/>
                  <a:gd name="T24" fmla="*/ 163 w 573"/>
                  <a:gd name="T25" fmla="*/ 286 h 641"/>
                  <a:gd name="T26" fmla="*/ 190 w 573"/>
                  <a:gd name="T27" fmla="*/ 299 h 641"/>
                  <a:gd name="T28" fmla="*/ 207 w 573"/>
                  <a:gd name="T29" fmla="*/ 316 h 641"/>
                  <a:gd name="T30" fmla="*/ 204 w 573"/>
                  <a:gd name="T31" fmla="*/ 343 h 641"/>
                  <a:gd name="T32" fmla="*/ 230 w 573"/>
                  <a:gd name="T33" fmla="*/ 359 h 641"/>
                  <a:gd name="T34" fmla="*/ 245 w 573"/>
                  <a:gd name="T35" fmla="*/ 376 h 641"/>
                  <a:gd name="T36" fmla="*/ 230 w 573"/>
                  <a:gd name="T37" fmla="*/ 405 h 641"/>
                  <a:gd name="T38" fmla="*/ 243 w 573"/>
                  <a:gd name="T39" fmla="*/ 431 h 641"/>
                  <a:gd name="T40" fmla="*/ 268 w 573"/>
                  <a:gd name="T41" fmla="*/ 445 h 641"/>
                  <a:gd name="T42" fmla="*/ 295 w 573"/>
                  <a:gd name="T43" fmla="*/ 464 h 641"/>
                  <a:gd name="T44" fmla="*/ 302 w 573"/>
                  <a:gd name="T45" fmla="*/ 520 h 641"/>
                  <a:gd name="T46" fmla="*/ 299 w 573"/>
                  <a:gd name="T47" fmla="*/ 533 h 641"/>
                  <a:gd name="T48" fmla="*/ 277 w 573"/>
                  <a:gd name="T49" fmla="*/ 557 h 641"/>
                  <a:gd name="T50" fmla="*/ 269 w 573"/>
                  <a:gd name="T51" fmla="*/ 584 h 641"/>
                  <a:gd name="T52" fmla="*/ 320 w 573"/>
                  <a:gd name="T53" fmla="*/ 629 h 641"/>
                  <a:gd name="T54" fmla="*/ 331 w 573"/>
                  <a:gd name="T55" fmla="*/ 611 h 641"/>
                  <a:gd name="T56" fmla="*/ 342 w 573"/>
                  <a:gd name="T57" fmla="*/ 581 h 641"/>
                  <a:gd name="T58" fmla="*/ 339 w 573"/>
                  <a:gd name="T59" fmla="*/ 603 h 641"/>
                  <a:gd name="T60" fmla="*/ 364 w 573"/>
                  <a:gd name="T61" fmla="*/ 578 h 641"/>
                  <a:gd name="T62" fmla="*/ 383 w 573"/>
                  <a:gd name="T63" fmla="*/ 500 h 641"/>
                  <a:gd name="T64" fmla="*/ 403 w 573"/>
                  <a:gd name="T65" fmla="*/ 476 h 641"/>
                  <a:gd name="T66" fmla="*/ 456 w 573"/>
                  <a:gd name="T67" fmla="*/ 455 h 641"/>
                  <a:gd name="T68" fmla="*/ 486 w 573"/>
                  <a:gd name="T69" fmla="*/ 420 h 641"/>
                  <a:gd name="T70" fmla="*/ 501 w 573"/>
                  <a:gd name="T71" fmla="*/ 365 h 641"/>
                  <a:gd name="T72" fmla="*/ 525 w 573"/>
                  <a:gd name="T73" fmla="*/ 280 h 641"/>
                  <a:gd name="T74" fmla="*/ 536 w 573"/>
                  <a:gd name="T75" fmla="*/ 247 h 641"/>
                  <a:gd name="T76" fmla="*/ 558 w 573"/>
                  <a:gd name="T77" fmla="*/ 226 h 641"/>
                  <a:gd name="T78" fmla="*/ 563 w 573"/>
                  <a:gd name="T79" fmla="*/ 198 h 641"/>
                  <a:gd name="T80" fmla="*/ 562 w 573"/>
                  <a:gd name="T81" fmla="*/ 184 h 641"/>
                  <a:gd name="T82" fmla="*/ 542 w 573"/>
                  <a:gd name="T83" fmla="*/ 148 h 641"/>
                  <a:gd name="T84" fmla="*/ 513 w 573"/>
                  <a:gd name="T85" fmla="*/ 130 h 641"/>
                  <a:gd name="T86" fmla="*/ 486 w 573"/>
                  <a:gd name="T87" fmla="*/ 114 h 641"/>
                  <a:gd name="T88" fmla="*/ 456 w 573"/>
                  <a:gd name="T89" fmla="*/ 109 h 641"/>
                  <a:gd name="T90" fmla="*/ 426 w 573"/>
                  <a:gd name="T91" fmla="*/ 92 h 641"/>
                  <a:gd name="T92" fmla="*/ 385 w 573"/>
                  <a:gd name="T93" fmla="*/ 84 h 641"/>
                  <a:gd name="T94" fmla="*/ 358 w 573"/>
                  <a:gd name="T95" fmla="*/ 102 h 641"/>
                  <a:gd name="T96" fmla="*/ 362 w 573"/>
                  <a:gd name="T97" fmla="*/ 74 h 641"/>
                  <a:gd name="T98" fmla="*/ 334 w 573"/>
                  <a:gd name="T99" fmla="*/ 90 h 641"/>
                  <a:gd name="T100" fmla="*/ 330 w 573"/>
                  <a:gd name="T101" fmla="*/ 81 h 641"/>
                  <a:gd name="T102" fmla="*/ 349 w 573"/>
                  <a:gd name="T103" fmla="*/ 48 h 641"/>
                  <a:gd name="T104" fmla="*/ 318 w 573"/>
                  <a:gd name="T105" fmla="*/ 14 h 641"/>
                  <a:gd name="T106" fmla="*/ 302 w 573"/>
                  <a:gd name="T107" fmla="*/ 40 h 641"/>
                  <a:gd name="T108" fmla="*/ 259 w 573"/>
                  <a:gd name="T109" fmla="*/ 33 h 641"/>
                  <a:gd name="T110" fmla="*/ 230 w 573"/>
                  <a:gd name="T111" fmla="*/ 47 h 641"/>
                  <a:gd name="T112" fmla="*/ 209 w 573"/>
                  <a:gd name="T113" fmla="*/ 46 h 641"/>
                  <a:gd name="T114" fmla="*/ 203 w 573"/>
                  <a:gd name="T115" fmla="*/ 3 h 641"/>
                  <a:gd name="T116" fmla="*/ 162 w 573"/>
                  <a:gd name="T117" fmla="*/ 11 h 641"/>
                  <a:gd name="T118" fmla="*/ 136 w 573"/>
                  <a:gd name="T119" fmla="*/ 7 h 641"/>
                  <a:gd name="T120" fmla="*/ 143 w 573"/>
                  <a:gd name="T121" fmla="*/ 36 h 641"/>
                  <a:gd name="T122" fmla="*/ 117 w 573"/>
                  <a:gd name="T123" fmla="*/ 58 h 641"/>
                  <a:gd name="T124" fmla="*/ 89 w 573"/>
                  <a:gd name="T125" fmla="*/ 39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3" h="641">
                    <a:moveTo>
                      <a:pt x="89" y="39"/>
                    </a:moveTo>
                    <a:lnTo>
                      <a:pt x="64" y="47"/>
                    </a:lnTo>
                    <a:lnTo>
                      <a:pt x="58" y="58"/>
                    </a:lnTo>
                    <a:lnTo>
                      <a:pt x="66" y="65"/>
                    </a:lnTo>
                    <a:lnTo>
                      <a:pt x="58" y="70"/>
                    </a:lnTo>
                    <a:lnTo>
                      <a:pt x="62" y="98"/>
                    </a:lnTo>
                    <a:lnTo>
                      <a:pt x="62" y="111"/>
                    </a:lnTo>
                    <a:lnTo>
                      <a:pt x="47" y="113"/>
                    </a:lnTo>
                    <a:lnTo>
                      <a:pt x="57" y="131"/>
                    </a:lnTo>
                    <a:lnTo>
                      <a:pt x="53" y="145"/>
                    </a:lnTo>
                    <a:lnTo>
                      <a:pt x="42" y="151"/>
                    </a:lnTo>
                    <a:lnTo>
                      <a:pt x="29" y="147"/>
                    </a:lnTo>
                    <a:lnTo>
                      <a:pt x="19" y="154"/>
                    </a:lnTo>
                    <a:lnTo>
                      <a:pt x="14" y="168"/>
                    </a:lnTo>
                    <a:lnTo>
                      <a:pt x="18" y="178"/>
                    </a:lnTo>
                    <a:lnTo>
                      <a:pt x="11" y="183"/>
                    </a:lnTo>
                    <a:lnTo>
                      <a:pt x="3" y="187"/>
                    </a:lnTo>
                    <a:lnTo>
                      <a:pt x="0" y="201"/>
                    </a:lnTo>
                    <a:lnTo>
                      <a:pt x="3" y="210"/>
                    </a:lnTo>
                    <a:lnTo>
                      <a:pt x="14" y="219"/>
                    </a:lnTo>
                    <a:lnTo>
                      <a:pt x="17" y="228"/>
                    </a:lnTo>
                    <a:lnTo>
                      <a:pt x="27" y="230"/>
                    </a:lnTo>
                    <a:lnTo>
                      <a:pt x="29" y="238"/>
                    </a:lnTo>
                    <a:lnTo>
                      <a:pt x="42" y="241"/>
                    </a:lnTo>
                    <a:lnTo>
                      <a:pt x="53" y="234"/>
                    </a:lnTo>
                    <a:lnTo>
                      <a:pt x="58" y="252"/>
                    </a:lnTo>
                    <a:lnTo>
                      <a:pt x="71" y="259"/>
                    </a:lnTo>
                    <a:lnTo>
                      <a:pt x="81" y="259"/>
                    </a:lnTo>
                    <a:lnTo>
                      <a:pt x="91" y="256"/>
                    </a:lnTo>
                    <a:lnTo>
                      <a:pt x="96" y="252"/>
                    </a:lnTo>
                    <a:lnTo>
                      <a:pt x="99" y="245"/>
                    </a:lnTo>
                    <a:lnTo>
                      <a:pt x="107" y="246"/>
                    </a:lnTo>
                    <a:lnTo>
                      <a:pt x="108" y="235"/>
                    </a:lnTo>
                    <a:lnTo>
                      <a:pt x="128" y="237"/>
                    </a:lnTo>
                    <a:lnTo>
                      <a:pt x="130" y="267"/>
                    </a:lnTo>
                    <a:lnTo>
                      <a:pt x="136" y="277"/>
                    </a:lnTo>
                    <a:lnTo>
                      <a:pt x="138" y="282"/>
                    </a:lnTo>
                    <a:lnTo>
                      <a:pt x="161" y="282"/>
                    </a:lnTo>
                    <a:lnTo>
                      <a:pt x="163" y="286"/>
                    </a:lnTo>
                    <a:lnTo>
                      <a:pt x="173" y="288"/>
                    </a:lnTo>
                    <a:lnTo>
                      <a:pt x="175" y="297"/>
                    </a:lnTo>
                    <a:lnTo>
                      <a:pt x="190" y="299"/>
                    </a:lnTo>
                    <a:lnTo>
                      <a:pt x="197" y="301"/>
                    </a:lnTo>
                    <a:lnTo>
                      <a:pt x="199" y="315"/>
                    </a:lnTo>
                    <a:lnTo>
                      <a:pt x="207" y="316"/>
                    </a:lnTo>
                    <a:lnTo>
                      <a:pt x="199" y="322"/>
                    </a:lnTo>
                    <a:lnTo>
                      <a:pt x="200" y="342"/>
                    </a:lnTo>
                    <a:lnTo>
                      <a:pt x="204" y="343"/>
                    </a:lnTo>
                    <a:lnTo>
                      <a:pt x="209" y="349"/>
                    </a:lnTo>
                    <a:lnTo>
                      <a:pt x="229" y="348"/>
                    </a:lnTo>
                    <a:lnTo>
                      <a:pt x="230" y="359"/>
                    </a:lnTo>
                    <a:lnTo>
                      <a:pt x="238" y="361"/>
                    </a:lnTo>
                    <a:lnTo>
                      <a:pt x="240" y="372"/>
                    </a:lnTo>
                    <a:lnTo>
                      <a:pt x="245" y="376"/>
                    </a:lnTo>
                    <a:lnTo>
                      <a:pt x="243" y="394"/>
                    </a:lnTo>
                    <a:lnTo>
                      <a:pt x="238" y="403"/>
                    </a:lnTo>
                    <a:lnTo>
                      <a:pt x="230" y="405"/>
                    </a:lnTo>
                    <a:lnTo>
                      <a:pt x="231" y="416"/>
                    </a:lnTo>
                    <a:lnTo>
                      <a:pt x="242" y="420"/>
                    </a:lnTo>
                    <a:lnTo>
                      <a:pt x="243" y="431"/>
                    </a:lnTo>
                    <a:lnTo>
                      <a:pt x="257" y="435"/>
                    </a:lnTo>
                    <a:lnTo>
                      <a:pt x="260" y="442"/>
                    </a:lnTo>
                    <a:lnTo>
                      <a:pt x="268" y="445"/>
                    </a:lnTo>
                    <a:lnTo>
                      <a:pt x="281" y="446"/>
                    </a:lnTo>
                    <a:lnTo>
                      <a:pt x="283" y="463"/>
                    </a:lnTo>
                    <a:lnTo>
                      <a:pt x="295" y="464"/>
                    </a:lnTo>
                    <a:lnTo>
                      <a:pt x="297" y="501"/>
                    </a:lnTo>
                    <a:lnTo>
                      <a:pt x="300" y="504"/>
                    </a:lnTo>
                    <a:lnTo>
                      <a:pt x="302" y="520"/>
                    </a:lnTo>
                    <a:lnTo>
                      <a:pt x="309" y="520"/>
                    </a:lnTo>
                    <a:lnTo>
                      <a:pt x="310" y="531"/>
                    </a:lnTo>
                    <a:lnTo>
                      <a:pt x="299" y="533"/>
                    </a:lnTo>
                    <a:lnTo>
                      <a:pt x="292" y="543"/>
                    </a:lnTo>
                    <a:lnTo>
                      <a:pt x="285" y="546"/>
                    </a:lnTo>
                    <a:lnTo>
                      <a:pt x="277" y="557"/>
                    </a:lnTo>
                    <a:lnTo>
                      <a:pt x="269" y="565"/>
                    </a:lnTo>
                    <a:lnTo>
                      <a:pt x="264" y="576"/>
                    </a:lnTo>
                    <a:lnTo>
                      <a:pt x="269" y="584"/>
                    </a:lnTo>
                    <a:lnTo>
                      <a:pt x="283" y="589"/>
                    </a:lnTo>
                    <a:lnTo>
                      <a:pt x="314" y="618"/>
                    </a:lnTo>
                    <a:lnTo>
                      <a:pt x="320" y="629"/>
                    </a:lnTo>
                    <a:lnTo>
                      <a:pt x="323" y="640"/>
                    </a:lnTo>
                    <a:lnTo>
                      <a:pt x="330" y="628"/>
                    </a:lnTo>
                    <a:lnTo>
                      <a:pt x="331" y="611"/>
                    </a:lnTo>
                    <a:lnTo>
                      <a:pt x="335" y="599"/>
                    </a:lnTo>
                    <a:lnTo>
                      <a:pt x="336" y="580"/>
                    </a:lnTo>
                    <a:lnTo>
                      <a:pt x="342" y="581"/>
                    </a:lnTo>
                    <a:lnTo>
                      <a:pt x="345" y="585"/>
                    </a:lnTo>
                    <a:lnTo>
                      <a:pt x="343" y="595"/>
                    </a:lnTo>
                    <a:lnTo>
                      <a:pt x="339" y="603"/>
                    </a:lnTo>
                    <a:lnTo>
                      <a:pt x="353" y="598"/>
                    </a:lnTo>
                    <a:lnTo>
                      <a:pt x="356" y="585"/>
                    </a:lnTo>
                    <a:lnTo>
                      <a:pt x="364" y="578"/>
                    </a:lnTo>
                    <a:lnTo>
                      <a:pt x="362" y="558"/>
                    </a:lnTo>
                    <a:lnTo>
                      <a:pt x="378" y="548"/>
                    </a:lnTo>
                    <a:lnTo>
                      <a:pt x="383" y="500"/>
                    </a:lnTo>
                    <a:lnTo>
                      <a:pt x="386" y="489"/>
                    </a:lnTo>
                    <a:lnTo>
                      <a:pt x="398" y="484"/>
                    </a:lnTo>
                    <a:lnTo>
                      <a:pt x="403" y="476"/>
                    </a:lnTo>
                    <a:lnTo>
                      <a:pt x="411" y="470"/>
                    </a:lnTo>
                    <a:lnTo>
                      <a:pt x="426" y="459"/>
                    </a:lnTo>
                    <a:lnTo>
                      <a:pt x="456" y="455"/>
                    </a:lnTo>
                    <a:lnTo>
                      <a:pt x="459" y="447"/>
                    </a:lnTo>
                    <a:lnTo>
                      <a:pt x="482" y="446"/>
                    </a:lnTo>
                    <a:lnTo>
                      <a:pt x="486" y="420"/>
                    </a:lnTo>
                    <a:lnTo>
                      <a:pt x="493" y="408"/>
                    </a:lnTo>
                    <a:lnTo>
                      <a:pt x="499" y="392"/>
                    </a:lnTo>
                    <a:lnTo>
                      <a:pt x="501" y="365"/>
                    </a:lnTo>
                    <a:lnTo>
                      <a:pt x="508" y="361"/>
                    </a:lnTo>
                    <a:lnTo>
                      <a:pt x="512" y="285"/>
                    </a:lnTo>
                    <a:lnTo>
                      <a:pt x="525" y="280"/>
                    </a:lnTo>
                    <a:lnTo>
                      <a:pt x="525" y="265"/>
                    </a:lnTo>
                    <a:lnTo>
                      <a:pt x="532" y="261"/>
                    </a:lnTo>
                    <a:lnTo>
                      <a:pt x="536" y="247"/>
                    </a:lnTo>
                    <a:lnTo>
                      <a:pt x="543" y="244"/>
                    </a:lnTo>
                    <a:lnTo>
                      <a:pt x="547" y="230"/>
                    </a:lnTo>
                    <a:lnTo>
                      <a:pt x="558" y="226"/>
                    </a:lnTo>
                    <a:lnTo>
                      <a:pt x="558" y="214"/>
                    </a:lnTo>
                    <a:lnTo>
                      <a:pt x="564" y="212"/>
                    </a:lnTo>
                    <a:lnTo>
                      <a:pt x="563" y="198"/>
                    </a:lnTo>
                    <a:lnTo>
                      <a:pt x="569" y="198"/>
                    </a:lnTo>
                    <a:lnTo>
                      <a:pt x="572" y="185"/>
                    </a:lnTo>
                    <a:lnTo>
                      <a:pt x="562" y="184"/>
                    </a:lnTo>
                    <a:lnTo>
                      <a:pt x="559" y="156"/>
                    </a:lnTo>
                    <a:lnTo>
                      <a:pt x="553" y="150"/>
                    </a:lnTo>
                    <a:lnTo>
                      <a:pt x="542" y="148"/>
                    </a:lnTo>
                    <a:lnTo>
                      <a:pt x="533" y="142"/>
                    </a:lnTo>
                    <a:lnTo>
                      <a:pt x="525" y="130"/>
                    </a:lnTo>
                    <a:lnTo>
                      <a:pt x="513" y="130"/>
                    </a:lnTo>
                    <a:lnTo>
                      <a:pt x="510" y="119"/>
                    </a:lnTo>
                    <a:lnTo>
                      <a:pt x="500" y="114"/>
                    </a:lnTo>
                    <a:lnTo>
                      <a:pt x="486" y="114"/>
                    </a:lnTo>
                    <a:lnTo>
                      <a:pt x="472" y="111"/>
                    </a:lnTo>
                    <a:lnTo>
                      <a:pt x="465" y="104"/>
                    </a:lnTo>
                    <a:lnTo>
                      <a:pt x="456" y="109"/>
                    </a:lnTo>
                    <a:lnTo>
                      <a:pt x="447" y="110"/>
                    </a:lnTo>
                    <a:lnTo>
                      <a:pt x="435" y="103"/>
                    </a:lnTo>
                    <a:lnTo>
                      <a:pt x="426" y="92"/>
                    </a:lnTo>
                    <a:lnTo>
                      <a:pt x="414" y="84"/>
                    </a:lnTo>
                    <a:lnTo>
                      <a:pt x="401" y="82"/>
                    </a:lnTo>
                    <a:lnTo>
                      <a:pt x="385" y="84"/>
                    </a:lnTo>
                    <a:lnTo>
                      <a:pt x="375" y="87"/>
                    </a:lnTo>
                    <a:lnTo>
                      <a:pt x="371" y="95"/>
                    </a:lnTo>
                    <a:lnTo>
                      <a:pt x="358" y="102"/>
                    </a:lnTo>
                    <a:lnTo>
                      <a:pt x="364" y="92"/>
                    </a:lnTo>
                    <a:lnTo>
                      <a:pt x="370" y="80"/>
                    </a:lnTo>
                    <a:lnTo>
                      <a:pt x="362" y="74"/>
                    </a:lnTo>
                    <a:lnTo>
                      <a:pt x="351" y="74"/>
                    </a:lnTo>
                    <a:lnTo>
                      <a:pt x="342" y="81"/>
                    </a:lnTo>
                    <a:lnTo>
                      <a:pt x="334" y="90"/>
                    </a:lnTo>
                    <a:lnTo>
                      <a:pt x="327" y="99"/>
                    </a:lnTo>
                    <a:lnTo>
                      <a:pt x="317" y="103"/>
                    </a:lnTo>
                    <a:lnTo>
                      <a:pt x="330" y="81"/>
                    </a:lnTo>
                    <a:lnTo>
                      <a:pt x="338" y="70"/>
                    </a:lnTo>
                    <a:lnTo>
                      <a:pt x="345" y="56"/>
                    </a:lnTo>
                    <a:lnTo>
                      <a:pt x="349" y="48"/>
                    </a:lnTo>
                    <a:lnTo>
                      <a:pt x="338" y="23"/>
                    </a:lnTo>
                    <a:lnTo>
                      <a:pt x="330" y="14"/>
                    </a:lnTo>
                    <a:lnTo>
                      <a:pt x="318" y="14"/>
                    </a:lnTo>
                    <a:lnTo>
                      <a:pt x="310" y="22"/>
                    </a:lnTo>
                    <a:lnTo>
                      <a:pt x="305" y="31"/>
                    </a:lnTo>
                    <a:lnTo>
                      <a:pt x="302" y="40"/>
                    </a:lnTo>
                    <a:lnTo>
                      <a:pt x="286" y="38"/>
                    </a:lnTo>
                    <a:lnTo>
                      <a:pt x="280" y="31"/>
                    </a:lnTo>
                    <a:lnTo>
                      <a:pt x="259" y="33"/>
                    </a:lnTo>
                    <a:lnTo>
                      <a:pt x="258" y="46"/>
                    </a:lnTo>
                    <a:lnTo>
                      <a:pt x="242" y="47"/>
                    </a:lnTo>
                    <a:lnTo>
                      <a:pt x="230" y="47"/>
                    </a:lnTo>
                    <a:lnTo>
                      <a:pt x="225" y="53"/>
                    </a:lnTo>
                    <a:lnTo>
                      <a:pt x="216" y="54"/>
                    </a:lnTo>
                    <a:lnTo>
                      <a:pt x="209" y="46"/>
                    </a:lnTo>
                    <a:lnTo>
                      <a:pt x="202" y="31"/>
                    </a:lnTo>
                    <a:lnTo>
                      <a:pt x="206" y="20"/>
                    </a:lnTo>
                    <a:lnTo>
                      <a:pt x="203" y="3"/>
                    </a:lnTo>
                    <a:lnTo>
                      <a:pt x="191" y="0"/>
                    </a:lnTo>
                    <a:lnTo>
                      <a:pt x="187" y="9"/>
                    </a:lnTo>
                    <a:lnTo>
                      <a:pt x="162" y="11"/>
                    </a:lnTo>
                    <a:lnTo>
                      <a:pt x="154" y="16"/>
                    </a:lnTo>
                    <a:lnTo>
                      <a:pt x="142" y="5"/>
                    </a:lnTo>
                    <a:lnTo>
                      <a:pt x="136" y="7"/>
                    </a:lnTo>
                    <a:lnTo>
                      <a:pt x="132" y="20"/>
                    </a:lnTo>
                    <a:lnTo>
                      <a:pt x="134" y="29"/>
                    </a:lnTo>
                    <a:lnTo>
                      <a:pt x="143" y="36"/>
                    </a:lnTo>
                    <a:lnTo>
                      <a:pt x="144" y="47"/>
                    </a:lnTo>
                    <a:lnTo>
                      <a:pt x="132" y="56"/>
                    </a:lnTo>
                    <a:lnTo>
                      <a:pt x="117" y="58"/>
                    </a:lnTo>
                    <a:lnTo>
                      <a:pt x="106" y="53"/>
                    </a:lnTo>
                    <a:lnTo>
                      <a:pt x="98" y="42"/>
                    </a:lnTo>
                    <a:lnTo>
                      <a:pt x="89" y="3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66" name="Freeform 103">
                <a:extLst>
                  <a:ext uri="{FF2B5EF4-FFF2-40B4-BE49-F238E27FC236}">
                    <a16:creationId xmlns:a16="http://schemas.microsoft.com/office/drawing/2014/main" id="{12C2D58A-8A0E-41FF-B107-28FBEC469D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2" y="1645"/>
                <a:ext cx="148" cy="91"/>
              </a:xfrm>
              <a:custGeom>
                <a:avLst/>
                <a:gdLst>
                  <a:gd name="T0" fmla="*/ 40 w 133"/>
                  <a:gd name="T1" fmla="*/ 15 h 81"/>
                  <a:gd name="T2" fmla="*/ 22 w 133"/>
                  <a:gd name="T3" fmla="*/ 0 h 81"/>
                  <a:gd name="T4" fmla="*/ 0 w 133"/>
                  <a:gd name="T5" fmla="*/ 25 h 81"/>
                  <a:gd name="T6" fmla="*/ 2 w 133"/>
                  <a:gd name="T7" fmla="*/ 37 h 81"/>
                  <a:gd name="T8" fmla="*/ 27 w 133"/>
                  <a:gd name="T9" fmla="*/ 32 h 81"/>
                  <a:gd name="T10" fmla="*/ 27 w 133"/>
                  <a:gd name="T11" fmla="*/ 52 h 81"/>
                  <a:gd name="T12" fmla="*/ 19 w 133"/>
                  <a:gd name="T13" fmla="*/ 65 h 81"/>
                  <a:gd name="T14" fmla="*/ 41 w 133"/>
                  <a:gd name="T15" fmla="*/ 60 h 81"/>
                  <a:gd name="T16" fmla="*/ 64 w 133"/>
                  <a:gd name="T17" fmla="*/ 71 h 81"/>
                  <a:gd name="T18" fmla="*/ 72 w 133"/>
                  <a:gd name="T19" fmla="*/ 80 h 81"/>
                  <a:gd name="T20" fmla="*/ 91 w 133"/>
                  <a:gd name="T21" fmla="*/ 60 h 81"/>
                  <a:gd name="T22" fmla="*/ 109 w 133"/>
                  <a:gd name="T23" fmla="*/ 60 h 81"/>
                  <a:gd name="T24" fmla="*/ 127 w 133"/>
                  <a:gd name="T25" fmla="*/ 48 h 81"/>
                  <a:gd name="T26" fmla="*/ 132 w 133"/>
                  <a:gd name="T27" fmla="*/ 27 h 81"/>
                  <a:gd name="T28" fmla="*/ 127 w 133"/>
                  <a:gd name="T29" fmla="*/ 4 h 81"/>
                  <a:gd name="T30" fmla="*/ 102 w 133"/>
                  <a:gd name="T31" fmla="*/ 4 h 81"/>
                  <a:gd name="T32" fmla="*/ 77 w 133"/>
                  <a:gd name="T33" fmla="*/ 12 h 81"/>
                  <a:gd name="T34" fmla="*/ 49 w 133"/>
                  <a:gd name="T35" fmla="*/ 3 h 81"/>
                  <a:gd name="T36" fmla="*/ 40 w 133"/>
                  <a:gd name="T37" fmla="*/ 1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3" h="81">
                    <a:moveTo>
                      <a:pt x="40" y="15"/>
                    </a:moveTo>
                    <a:lnTo>
                      <a:pt x="22" y="0"/>
                    </a:lnTo>
                    <a:lnTo>
                      <a:pt x="0" y="25"/>
                    </a:lnTo>
                    <a:lnTo>
                      <a:pt x="2" y="37"/>
                    </a:lnTo>
                    <a:lnTo>
                      <a:pt x="27" y="32"/>
                    </a:lnTo>
                    <a:lnTo>
                      <a:pt x="27" y="52"/>
                    </a:lnTo>
                    <a:lnTo>
                      <a:pt x="19" y="65"/>
                    </a:lnTo>
                    <a:lnTo>
                      <a:pt x="41" y="60"/>
                    </a:lnTo>
                    <a:lnTo>
                      <a:pt x="64" y="71"/>
                    </a:lnTo>
                    <a:lnTo>
                      <a:pt x="72" y="80"/>
                    </a:lnTo>
                    <a:lnTo>
                      <a:pt x="91" y="60"/>
                    </a:lnTo>
                    <a:lnTo>
                      <a:pt x="109" y="60"/>
                    </a:lnTo>
                    <a:lnTo>
                      <a:pt x="127" y="48"/>
                    </a:lnTo>
                    <a:lnTo>
                      <a:pt x="132" y="27"/>
                    </a:lnTo>
                    <a:lnTo>
                      <a:pt x="127" y="4"/>
                    </a:lnTo>
                    <a:lnTo>
                      <a:pt x="102" y="4"/>
                    </a:lnTo>
                    <a:lnTo>
                      <a:pt x="77" y="12"/>
                    </a:lnTo>
                    <a:lnTo>
                      <a:pt x="49" y="3"/>
                    </a:lnTo>
                    <a:lnTo>
                      <a:pt x="40" y="1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67" name="Freeform 104">
                <a:extLst>
                  <a:ext uri="{FF2B5EF4-FFF2-40B4-BE49-F238E27FC236}">
                    <a16:creationId xmlns:a16="http://schemas.microsoft.com/office/drawing/2014/main" id="{C7C66BD6-2597-4FB1-94D6-1F05147AD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1" y="1854"/>
                <a:ext cx="23" cy="16"/>
              </a:xfrm>
              <a:custGeom>
                <a:avLst/>
                <a:gdLst>
                  <a:gd name="T0" fmla="*/ 0 w 20"/>
                  <a:gd name="T1" fmla="*/ 14 h 15"/>
                  <a:gd name="T2" fmla="*/ 4 w 20"/>
                  <a:gd name="T3" fmla="*/ 0 h 15"/>
                  <a:gd name="T4" fmla="*/ 13 w 20"/>
                  <a:gd name="T5" fmla="*/ 0 h 15"/>
                  <a:gd name="T6" fmla="*/ 19 w 20"/>
                  <a:gd name="T7" fmla="*/ 0 h 15"/>
                  <a:gd name="T8" fmla="*/ 0 w 20"/>
                  <a:gd name="T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5">
                    <a:moveTo>
                      <a:pt x="0" y="14"/>
                    </a:moveTo>
                    <a:lnTo>
                      <a:pt x="4" y="0"/>
                    </a:lnTo>
                    <a:lnTo>
                      <a:pt x="13" y="0"/>
                    </a:lnTo>
                    <a:lnTo>
                      <a:pt x="19" y="0"/>
                    </a:lnTo>
                    <a:lnTo>
                      <a:pt x="0" y="1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68" name="Freeform 105">
                <a:extLst>
                  <a:ext uri="{FF2B5EF4-FFF2-40B4-BE49-F238E27FC236}">
                    <a16:creationId xmlns:a16="http://schemas.microsoft.com/office/drawing/2014/main" id="{5134EEB1-19A5-477C-A271-F5CED77AAE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3" y="1556"/>
                <a:ext cx="26" cy="28"/>
              </a:xfrm>
              <a:custGeom>
                <a:avLst/>
                <a:gdLst>
                  <a:gd name="T0" fmla="*/ 11 w 23"/>
                  <a:gd name="T1" fmla="*/ 0 h 25"/>
                  <a:gd name="T2" fmla="*/ 0 w 23"/>
                  <a:gd name="T3" fmla="*/ 12 h 25"/>
                  <a:gd name="T4" fmla="*/ 5 w 23"/>
                  <a:gd name="T5" fmla="*/ 24 h 25"/>
                  <a:gd name="T6" fmla="*/ 14 w 23"/>
                  <a:gd name="T7" fmla="*/ 22 h 25"/>
                  <a:gd name="T8" fmla="*/ 22 w 23"/>
                  <a:gd name="T9" fmla="*/ 9 h 25"/>
                  <a:gd name="T10" fmla="*/ 11 w 23"/>
                  <a:gd name="T11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25">
                    <a:moveTo>
                      <a:pt x="11" y="0"/>
                    </a:moveTo>
                    <a:lnTo>
                      <a:pt x="0" y="12"/>
                    </a:lnTo>
                    <a:lnTo>
                      <a:pt x="5" y="24"/>
                    </a:lnTo>
                    <a:lnTo>
                      <a:pt x="14" y="22"/>
                    </a:lnTo>
                    <a:lnTo>
                      <a:pt x="22" y="9"/>
                    </a:lnTo>
                    <a:lnTo>
                      <a:pt x="11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69" name="Freeform 106">
                <a:extLst>
                  <a:ext uri="{FF2B5EF4-FFF2-40B4-BE49-F238E27FC236}">
                    <a16:creationId xmlns:a16="http://schemas.microsoft.com/office/drawing/2014/main" id="{907E9206-76C2-42BA-BE99-CD4B74E792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1531"/>
                <a:ext cx="37" cy="20"/>
              </a:xfrm>
              <a:custGeom>
                <a:avLst/>
                <a:gdLst>
                  <a:gd name="T0" fmla="*/ 27 w 33"/>
                  <a:gd name="T1" fmla="*/ 4 h 17"/>
                  <a:gd name="T2" fmla="*/ 13 w 33"/>
                  <a:gd name="T3" fmla="*/ 0 h 17"/>
                  <a:gd name="T4" fmla="*/ 0 w 33"/>
                  <a:gd name="T5" fmla="*/ 12 h 17"/>
                  <a:gd name="T6" fmla="*/ 9 w 33"/>
                  <a:gd name="T7" fmla="*/ 14 h 17"/>
                  <a:gd name="T8" fmla="*/ 32 w 33"/>
                  <a:gd name="T9" fmla="*/ 16 h 17"/>
                  <a:gd name="T10" fmla="*/ 27 w 33"/>
                  <a:gd name="T11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17">
                    <a:moveTo>
                      <a:pt x="27" y="4"/>
                    </a:moveTo>
                    <a:lnTo>
                      <a:pt x="13" y="0"/>
                    </a:lnTo>
                    <a:lnTo>
                      <a:pt x="0" y="12"/>
                    </a:lnTo>
                    <a:lnTo>
                      <a:pt x="9" y="14"/>
                    </a:lnTo>
                    <a:lnTo>
                      <a:pt x="32" y="16"/>
                    </a:lnTo>
                    <a:lnTo>
                      <a:pt x="27" y="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70" name="Freeform 107">
                <a:extLst>
                  <a:ext uri="{FF2B5EF4-FFF2-40B4-BE49-F238E27FC236}">
                    <a16:creationId xmlns:a16="http://schemas.microsoft.com/office/drawing/2014/main" id="{0B3CAE0B-B110-4D3F-9B7F-6E56B04518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5" y="1413"/>
                <a:ext cx="15" cy="18"/>
              </a:xfrm>
              <a:custGeom>
                <a:avLst/>
                <a:gdLst>
                  <a:gd name="T0" fmla="*/ 6 w 14"/>
                  <a:gd name="T1" fmla="*/ 15 h 16"/>
                  <a:gd name="T2" fmla="*/ 7 w 14"/>
                  <a:gd name="T3" fmla="*/ 15 h 16"/>
                  <a:gd name="T4" fmla="*/ 8 w 14"/>
                  <a:gd name="T5" fmla="*/ 15 h 16"/>
                  <a:gd name="T6" fmla="*/ 9 w 14"/>
                  <a:gd name="T7" fmla="*/ 14 h 16"/>
                  <a:gd name="T8" fmla="*/ 11 w 14"/>
                  <a:gd name="T9" fmla="*/ 14 h 16"/>
                  <a:gd name="T10" fmla="*/ 11 w 14"/>
                  <a:gd name="T11" fmla="*/ 13 h 16"/>
                  <a:gd name="T12" fmla="*/ 11 w 14"/>
                  <a:gd name="T13" fmla="*/ 12 h 16"/>
                  <a:gd name="T14" fmla="*/ 11 w 14"/>
                  <a:gd name="T15" fmla="*/ 11 h 16"/>
                  <a:gd name="T16" fmla="*/ 11 w 14"/>
                  <a:gd name="T17" fmla="*/ 10 h 16"/>
                  <a:gd name="T18" fmla="*/ 11 w 14"/>
                  <a:gd name="T19" fmla="*/ 9 h 16"/>
                  <a:gd name="T20" fmla="*/ 13 w 14"/>
                  <a:gd name="T21" fmla="*/ 8 h 16"/>
                  <a:gd name="T22" fmla="*/ 11 w 14"/>
                  <a:gd name="T23" fmla="*/ 8 h 16"/>
                  <a:gd name="T24" fmla="*/ 11 w 14"/>
                  <a:gd name="T25" fmla="*/ 7 h 16"/>
                  <a:gd name="T26" fmla="*/ 11 w 14"/>
                  <a:gd name="T27" fmla="*/ 5 h 16"/>
                  <a:gd name="T28" fmla="*/ 11 w 14"/>
                  <a:gd name="T29" fmla="*/ 4 h 16"/>
                  <a:gd name="T30" fmla="*/ 11 w 14"/>
                  <a:gd name="T31" fmla="*/ 3 h 16"/>
                  <a:gd name="T32" fmla="*/ 11 w 14"/>
                  <a:gd name="T33" fmla="*/ 2 h 16"/>
                  <a:gd name="T34" fmla="*/ 9 w 14"/>
                  <a:gd name="T35" fmla="*/ 1 h 16"/>
                  <a:gd name="T36" fmla="*/ 8 w 14"/>
                  <a:gd name="T37" fmla="*/ 1 h 16"/>
                  <a:gd name="T38" fmla="*/ 7 w 14"/>
                  <a:gd name="T39" fmla="*/ 0 h 16"/>
                  <a:gd name="T40" fmla="*/ 6 w 14"/>
                  <a:gd name="T41" fmla="*/ 0 h 16"/>
                  <a:gd name="T42" fmla="*/ 4 w 14"/>
                  <a:gd name="T43" fmla="*/ 0 h 16"/>
                  <a:gd name="T44" fmla="*/ 3 w 14"/>
                  <a:gd name="T45" fmla="*/ 1 h 16"/>
                  <a:gd name="T46" fmla="*/ 2 w 14"/>
                  <a:gd name="T47" fmla="*/ 2 h 16"/>
                  <a:gd name="T48" fmla="*/ 1 w 14"/>
                  <a:gd name="T49" fmla="*/ 3 h 16"/>
                  <a:gd name="T50" fmla="*/ 0 w 14"/>
                  <a:gd name="T51" fmla="*/ 4 h 16"/>
                  <a:gd name="T52" fmla="*/ 0 w 14"/>
                  <a:gd name="T53" fmla="*/ 5 h 16"/>
                  <a:gd name="T54" fmla="*/ 0 w 14"/>
                  <a:gd name="T55" fmla="*/ 7 h 16"/>
                  <a:gd name="T56" fmla="*/ 0 w 14"/>
                  <a:gd name="T57" fmla="*/ 8 h 16"/>
                  <a:gd name="T58" fmla="*/ 0 w 14"/>
                  <a:gd name="T59" fmla="*/ 9 h 16"/>
                  <a:gd name="T60" fmla="*/ 0 w 14"/>
                  <a:gd name="T61" fmla="*/ 10 h 16"/>
                  <a:gd name="T62" fmla="*/ 0 w 14"/>
                  <a:gd name="T63" fmla="*/ 11 h 16"/>
                  <a:gd name="T64" fmla="*/ 0 w 14"/>
                  <a:gd name="T65" fmla="*/ 12 h 16"/>
                  <a:gd name="T66" fmla="*/ 1 w 14"/>
                  <a:gd name="T67" fmla="*/ 13 h 16"/>
                  <a:gd name="T68" fmla="*/ 2 w 14"/>
                  <a:gd name="T69" fmla="*/ 14 h 16"/>
                  <a:gd name="T70" fmla="*/ 3 w 14"/>
                  <a:gd name="T71" fmla="*/ 14 h 16"/>
                  <a:gd name="T72" fmla="*/ 3 w 14"/>
                  <a:gd name="T73" fmla="*/ 15 h 16"/>
                  <a:gd name="T74" fmla="*/ 4 w 14"/>
                  <a:gd name="T75" fmla="*/ 15 h 16"/>
                  <a:gd name="T76" fmla="*/ 6 w 14"/>
                  <a:gd name="T7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4" h="16">
                    <a:moveTo>
                      <a:pt x="6" y="15"/>
                    </a:moveTo>
                    <a:lnTo>
                      <a:pt x="7" y="15"/>
                    </a:lnTo>
                    <a:lnTo>
                      <a:pt x="8" y="15"/>
                    </a:lnTo>
                    <a:lnTo>
                      <a:pt x="9" y="14"/>
                    </a:lnTo>
                    <a:lnTo>
                      <a:pt x="11" y="14"/>
                    </a:lnTo>
                    <a:lnTo>
                      <a:pt x="11" y="13"/>
                    </a:lnTo>
                    <a:lnTo>
                      <a:pt x="11" y="12"/>
                    </a:lnTo>
                    <a:lnTo>
                      <a:pt x="11" y="11"/>
                    </a:lnTo>
                    <a:lnTo>
                      <a:pt x="11" y="10"/>
                    </a:lnTo>
                    <a:lnTo>
                      <a:pt x="11" y="9"/>
                    </a:lnTo>
                    <a:lnTo>
                      <a:pt x="13" y="8"/>
                    </a:lnTo>
                    <a:lnTo>
                      <a:pt x="11" y="8"/>
                    </a:lnTo>
                    <a:lnTo>
                      <a:pt x="11" y="7"/>
                    </a:lnTo>
                    <a:lnTo>
                      <a:pt x="11" y="5"/>
                    </a:lnTo>
                    <a:lnTo>
                      <a:pt x="11" y="4"/>
                    </a:lnTo>
                    <a:lnTo>
                      <a:pt x="11" y="3"/>
                    </a:lnTo>
                    <a:lnTo>
                      <a:pt x="11" y="2"/>
                    </a:lnTo>
                    <a:lnTo>
                      <a:pt x="9" y="1"/>
                    </a:lnTo>
                    <a:lnTo>
                      <a:pt x="8" y="1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2" y="2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1" y="13"/>
                    </a:lnTo>
                    <a:lnTo>
                      <a:pt x="2" y="14"/>
                    </a:lnTo>
                    <a:lnTo>
                      <a:pt x="3" y="14"/>
                    </a:lnTo>
                    <a:lnTo>
                      <a:pt x="3" y="15"/>
                    </a:lnTo>
                    <a:lnTo>
                      <a:pt x="4" y="15"/>
                    </a:lnTo>
                    <a:lnTo>
                      <a:pt x="6" y="1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71" name="Freeform 108">
                <a:extLst>
                  <a:ext uri="{FF2B5EF4-FFF2-40B4-BE49-F238E27FC236}">
                    <a16:creationId xmlns:a16="http://schemas.microsoft.com/office/drawing/2014/main" id="{9F647C74-E33C-4385-927E-6BD3376F2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7" y="1566"/>
                <a:ext cx="20" cy="18"/>
              </a:xfrm>
              <a:custGeom>
                <a:avLst/>
                <a:gdLst>
                  <a:gd name="T0" fmla="*/ 6 w 18"/>
                  <a:gd name="T1" fmla="*/ 0 h 16"/>
                  <a:gd name="T2" fmla="*/ 0 w 18"/>
                  <a:gd name="T3" fmla="*/ 11 h 16"/>
                  <a:gd name="T4" fmla="*/ 12 w 18"/>
                  <a:gd name="T5" fmla="*/ 15 h 16"/>
                  <a:gd name="T6" fmla="*/ 17 w 18"/>
                  <a:gd name="T7" fmla="*/ 0 h 16"/>
                  <a:gd name="T8" fmla="*/ 6 w 18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6">
                    <a:moveTo>
                      <a:pt x="6" y="0"/>
                    </a:moveTo>
                    <a:lnTo>
                      <a:pt x="0" y="11"/>
                    </a:lnTo>
                    <a:lnTo>
                      <a:pt x="12" y="15"/>
                    </a:lnTo>
                    <a:lnTo>
                      <a:pt x="17" y="0"/>
                    </a:lnTo>
                    <a:lnTo>
                      <a:pt x="6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72" name="Freeform 109">
                <a:extLst>
                  <a:ext uri="{FF2B5EF4-FFF2-40B4-BE49-F238E27FC236}">
                    <a16:creationId xmlns:a16="http://schemas.microsoft.com/office/drawing/2014/main" id="{BBD2078F-B784-468B-A268-DAA6A6E9F4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9" y="1551"/>
                <a:ext cx="18" cy="37"/>
              </a:xfrm>
              <a:custGeom>
                <a:avLst/>
                <a:gdLst>
                  <a:gd name="T0" fmla="*/ 0 w 16"/>
                  <a:gd name="T1" fmla="*/ 0 h 33"/>
                  <a:gd name="T2" fmla="*/ 2 w 16"/>
                  <a:gd name="T3" fmla="*/ 13 h 33"/>
                  <a:gd name="T4" fmla="*/ 9 w 16"/>
                  <a:gd name="T5" fmla="*/ 16 h 33"/>
                  <a:gd name="T6" fmla="*/ 12 w 16"/>
                  <a:gd name="T7" fmla="*/ 32 h 33"/>
                  <a:gd name="T8" fmla="*/ 15 w 16"/>
                  <a:gd name="T9" fmla="*/ 20 h 33"/>
                  <a:gd name="T10" fmla="*/ 15 w 16"/>
                  <a:gd name="T11" fmla="*/ 11 h 33"/>
                  <a:gd name="T12" fmla="*/ 14 w 16"/>
                  <a:gd name="T13" fmla="*/ 0 h 33"/>
                  <a:gd name="T14" fmla="*/ 0 w 16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33">
                    <a:moveTo>
                      <a:pt x="0" y="0"/>
                    </a:moveTo>
                    <a:lnTo>
                      <a:pt x="2" y="13"/>
                    </a:lnTo>
                    <a:lnTo>
                      <a:pt x="9" y="16"/>
                    </a:lnTo>
                    <a:lnTo>
                      <a:pt x="12" y="32"/>
                    </a:lnTo>
                    <a:lnTo>
                      <a:pt x="15" y="20"/>
                    </a:lnTo>
                    <a:lnTo>
                      <a:pt x="15" y="11"/>
                    </a:lnTo>
                    <a:lnTo>
                      <a:pt x="14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73" name="Freeform 110">
                <a:extLst>
                  <a:ext uri="{FF2B5EF4-FFF2-40B4-BE49-F238E27FC236}">
                    <a16:creationId xmlns:a16="http://schemas.microsoft.com/office/drawing/2014/main" id="{FD22D98B-2628-4A21-B84C-B1EFE46B82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7" y="1553"/>
                <a:ext cx="18" cy="15"/>
              </a:xfrm>
              <a:custGeom>
                <a:avLst/>
                <a:gdLst>
                  <a:gd name="T0" fmla="*/ 0 w 15"/>
                  <a:gd name="T1" fmla="*/ 4 h 14"/>
                  <a:gd name="T2" fmla="*/ 7 w 15"/>
                  <a:gd name="T3" fmla="*/ 13 h 14"/>
                  <a:gd name="T4" fmla="*/ 14 w 15"/>
                  <a:gd name="T5" fmla="*/ 0 h 14"/>
                  <a:gd name="T6" fmla="*/ 0 w 15"/>
                  <a:gd name="T7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14">
                    <a:moveTo>
                      <a:pt x="0" y="4"/>
                    </a:moveTo>
                    <a:lnTo>
                      <a:pt x="7" y="13"/>
                    </a:lnTo>
                    <a:lnTo>
                      <a:pt x="14" y="0"/>
                    </a:lnTo>
                    <a:lnTo>
                      <a:pt x="0" y="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74" name="Freeform 111">
                <a:extLst>
                  <a:ext uri="{FF2B5EF4-FFF2-40B4-BE49-F238E27FC236}">
                    <a16:creationId xmlns:a16="http://schemas.microsoft.com/office/drawing/2014/main" id="{7C94F280-39A3-4646-9EB3-EC0822BB0E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8" y="2390"/>
                <a:ext cx="20" cy="19"/>
              </a:xfrm>
              <a:custGeom>
                <a:avLst/>
                <a:gdLst>
                  <a:gd name="T0" fmla="*/ 1 w 18"/>
                  <a:gd name="T1" fmla="*/ 6 h 17"/>
                  <a:gd name="T2" fmla="*/ 0 w 18"/>
                  <a:gd name="T3" fmla="*/ 16 h 17"/>
                  <a:gd name="T4" fmla="*/ 9 w 18"/>
                  <a:gd name="T5" fmla="*/ 16 h 17"/>
                  <a:gd name="T6" fmla="*/ 17 w 18"/>
                  <a:gd name="T7" fmla="*/ 6 h 17"/>
                  <a:gd name="T8" fmla="*/ 7 w 18"/>
                  <a:gd name="T9" fmla="*/ 0 h 17"/>
                  <a:gd name="T10" fmla="*/ 1 w 18"/>
                  <a:gd name="T11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7">
                    <a:moveTo>
                      <a:pt x="1" y="6"/>
                    </a:moveTo>
                    <a:lnTo>
                      <a:pt x="0" y="16"/>
                    </a:lnTo>
                    <a:lnTo>
                      <a:pt x="9" y="16"/>
                    </a:lnTo>
                    <a:lnTo>
                      <a:pt x="17" y="6"/>
                    </a:lnTo>
                    <a:lnTo>
                      <a:pt x="7" y="0"/>
                    </a:lnTo>
                    <a:lnTo>
                      <a:pt x="1" y="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75" name="Freeform 112">
                <a:extLst>
                  <a:ext uri="{FF2B5EF4-FFF2-40B4-BE49-F238E27FC236}">
                    <a16:creationId xmlns:a16="http://schemas.microsoft.com/office/drawing/2014/main" id="{AAB46CF9-CB4E-48A0-BF26-061A0C17B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3" y="2347"/>
                <a:ext cx="37" cy="18"/>
              </a:xfrm>
              <a:custGeom>
                <a:avLst/>
                <a:gdLst>
                  <a:gd name="T0" fmla="*/ 16 w 32"/>
                  <a:gd name="T1" fmla="*/ 11 h 16"/>
                  <a:gd name="T2" fmla="*/ 15 w 32"/>
                  <a:gd name="T3" fmla="*/ 11 h 16"/>
                  <a:gd name="T4" fmla="*/ 14 w 32"/>
                  <a:gd name="T5" fmla="*/ 11 h 16"/>
                  <a:gd name="T6" fmla="*/ 12 w 32"/>
                  <a:gd name="T7" fmla="*/ 11 h 16"/>
                  <a:gd name="T8" fmla="*/ 12 w 32"/>
                  <a:gd name="T9" fmla="*/ 12 h 16"/>
                  <a:gd name="T10" fmla="*/ 11 w 32"/>
                  <a:gd name="T11" fmla="*/ 12 h 16"/>
                  <a:gd name="T12" fmla="*/ 9 w 32"/>
                  <a:gd name="T13" fmla="*/ 13 h 16"/>
                  <a:gd name="T14" fmla="*/ 8 w 32"/>
                  <a:gd name="T15" fmla="*/ 13 h 16"/>
                  <a:gd name="T16" fmla="*/ 6 w 32"/>
                  <a:gd name="T17" fmla="*/ 14 h 16"/>
                  <a:gd name="T18" fmla="*/ 5 w 32"/>
                  <a:gd name="T19" fmla="*/ 14 h 16"/>
                  <a:gd name="T20" fmla="*/ 4 w 32"/>
                  <a:gd name="T21" fmla="*/ 15 h 16"/>
                  <a:gd name="T22" fmla="*/ 3 w 32"/>
                  <a:gd name="T23" fmla="*/ 14 h 16"/>
                  <a:gd name="T24" fmla="*/ 1 w 32"/>
                  <a:gd name="T25" fmla="*/ 14 h 16"/>
                  <a:gd name="T26" fmla="*/ 0 w 32"/>
                  <a:gd name="T27" fmla="*/ 13 h 16"/>
                  <a:gd name="T28" fmla="*/ 0 w 32"/>
                  <a:gd name="T29" fmla="*/ 12 h 16"/>
                  <a:gd name="T30" fmla="*/ 0 w 32"/>
                  <a:gd name="T31" fmla="*/ 11 h 16"/>
                  <a:gd name="T32" fmla="*/ 0 w 32"/>
                  <a:gd name="T33" fmla="*/ 10 h 16"/>
                  <a:gd name="T34" fmla="*/ 0 w 32"/>
                  <a:gd name="T35" fmla="*/ 9 h 16"/>
                  <a:gd name="T36" fmla="*/ 0 w 32"/>
                  <a:gd name="T37" fmla="*/ 8 h 16"/>
                  <a:gd name="T38" fmla="*/ 0 w 32"/>
                  <a:gd name="T39" fmla="*/ 7 h 16"/>
                  <a:gd name="T40" fmla="*/ 0 w 32"/>
                  <a:gd name="T41" fmla="*/ 6 h 16"/>
                  <a:gd name="T42" fmla="*/ 0 w 32"/>
                  <a:gd name="T43" fmla="*/ 5 h 16"/>
                  <a:gd name="T44" fmla="*/ 1 w 32"/>
                  <a:gd name="T45" fmla="*/ 4 h 16"/>
                  <a:gd name="T46" fmla="*/ 2 w 32"/>
                  <a:gd name="T47" fmla="*/ 4 h 16"/>
                  <a:gd name="T48" fmla="*/ 3 w 32"/>
                  <a:gd name="T49" fmla="*/ 4 h 16"/>
                  <a:gd name="T50" fmla="*/ 4 w 32"/>
                  <a:gd name="T51" fmla="*/ 4 h 16"/>
                  <a:gd name="T52" fmla="*/ 5 w 32"/>
                  <a:gd name="T53" fmla="*/ 4 h 16"/>
                  <a:gd name="T54" fmla="*/ 7 w 32"/>
                  <a:gd name="T55" fmla="*/ 4 h 16"/>
                  <a:gd name="T56" fmla="*/ 8 w 32"/>
                  <a:gd name="T57" fmla="*/ 4 h 16"/>
                  <a:gd name="T58" fmla="*/ 10 w 32"/>
                  <a:gd name="T59" fmla="*/ 4 h 16"/>
                  <a:gd name="T60" fmla="*/ 12 w 32"/>
                  <a:gd name="T61" fmla="*/ 4 h 16"/>
                  <a:gd name="T62" fmla="*/ 14 w 32"/>
                  <a:gd name="T63" fmla="*/ 4 h 16"/>
                  <a:gd name="T64" fmla="*/ 15 w 32"/>
                  <a:gd name="T65" fmla="*/ 4 h 16"/>
                  <a:gd name="T66" fmla="*/ 16 w 32"/>
                  <a:gd name="T67" fmla="*/ 4 h 16"/>
                  <a:gd name="T68" fmla="*/ 18 w 32"/>
                  <a:gd name="T69" fmla="*/ 4 h 16"/>
                  <a:gd name="T70" fmla="*/ 19 w 32"/>
                  <a:gd name="T71" fmla="*/ 3 h 16"/>
                  <a:gd name="T72" fmla="*/ 20 w 32"/>
                  <a:gd name="T73" fmla="*/ 2 h 16"/>
                  <a:gd name="T74" fmla="*/ 23 w 32"/>
                  <a:gd name="T75" fmla="*/ 2 h 16"/>
                  <a:gd name="T76" fmla="*/ 24 w 32"/>
                  <a:gd name="T77" fmla="*/ 1 h 16"/>
                  <a:gd name="T78" fmla="*/ 26 w 32"/>
                  <a:gd name="T79" fmla="*/ 0 h 16"/>
                  <a:gd name="T80" fmla="*/ 27 w 32"/>
                  <a:gd name="T81" fmla="*/ 0 h 16"/>
                  <a:gd name="T82" fmla="*/ 28 w 32"/>
                  <a:gd name="T83" fmla="*/ 0 h 16"/>
                  <a:gd name="T84" fmla="*/ 29 w 32"/>
                  <a:gd name="T85" fmla="*/ 0 h 16"/>
                  <a:gd name="T86" fmla="*/ 31 w 32"/>
                  <a:gd name="T87" fmla="*/ 0 h 16"/>
                  <a:gd name="T88" fmla="*/ 31 w 32"/>
                  <a:gd name="T89" fmla="*/ 1 h 16"/>
                  <a:gd name="T90" fmla="*/ 31 w 32"/>
                  <a:gd name="T91" fmla="*/ 2 h 16"/>
                  <a:gd name="T92" fmla="*/ 31 w 32"/>
                  <a:gd name="T93" fmla="*/ 3 h 16"/>
                  <a:gd name="T94" fmla="*/ 30 w 32"/>
                  <a:gd name="T95" fmla="*/ 4 h 16"/>
                  <a:gd name="T96" fmla="*/ 29 w 32"/>
                  <a:gd name="T97" fmla="*/ 4 h 16"/>
                  <a:gd name="T98" fmla="*/ 28 w 32"/>
                  <a:gd name="T99" fmla="*/ 4 h 16"/>
                  <a:gd name="T100" fmla="*/ 27 w 32"/>
                  <a:gd name="T101" fmla="*/ 6 h 16"/>
                  <a:gd name="T102" fmla="*/ 27 w 32"/>
                  <a:gd name="T103" fmla="*/ 7 h 16"/>
                  <a:gd name="T104" fmla="*/ 27 w 32"/>
                  <a:gd name="T105" fmla="*/ 8 h 16"/>
                  <a:gd name="T106" fmla="*/ 27 w 32"/>
                  <a:gd name="T107" fmla="*/ 9 h 16"/>
                  <a:gd name="T108" fmla="*/ 26 w 32"/>
                  <a:gd name="T109" fmla="*/ 9 h 16"/>
                  <a:gd name="T110" fmla="*/ 26 w 32"/>
                  <a:gd name="T111" fmla="*/ 10 h 16"/>
                  <a:gd name="T112" fmla="*/ 24 w 32"/>
                  <a:gd name="T113" fmla="*/ 11 h 16"/>
                  <a:gd name="T114" fmla="*/ 23 w 32"/>
                  <a:gd name="T115" fmla="*/ 11 h 16"/>
                  <a:gd name="T116" fmla="*/ 21 w 32"/>
                  <a:gd name="T117" fmla="*/ 11 h 16"/>
                  <a:gd name="T118" fmla="*/ 19 w 32"/>
                  <a:gd name="T119" fmla="*/ 11 h 16"/>
                  <a:gd name="T120" fmla="*/ 18 w 32"/>
                  <a:gd name="T121" fmla="*/ 11 h 16"/>
                  <a:gd name="T122" fmla="*/ 16 w 32"/>
                  <a:gd name="T123" fmla="*/ 1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" h="16">
                    <a:moveTo>
                      <a:pt x="16" y="11"/>
                    </a:moveTo>
                    <a:lnTo>
                      <a:pt x="15" y="11"/>
                    </a:lnTo>
                    <a:lnTo>
                      <a:pt x="14" y="11"/>
                    </a:lnTo>
                    <a:lnTo>
                      <a:pt x="12" y="11"/>
                    </a:lnTo>
                    <a:lnTo>
                      <a:pt x="12" y="12"/>
                    </a:lnTo>
                    <a:lnTo>
                      <a:pt x="11" y="12"/>
                    </a:lnTo>
                    <a:lnTo>
                      <a:pt x="9" y="13"/>
                    </a:lnTo>
                    <a:lnTo>
                      <a:pt x="8" y="13"/>
                    </a:lnTo>
                    <a:lnTo>
                      <a:pt x="6" y="14"/>
                    </a:lnTo>
                    <a:lnTo>
                      <a:pt x="5" y="14"/>
                    </a:lnTo>
                    <a:lnTo>
                      <a:pt x="4" y="15"/>
                    </a:lnTo>
                    <a:lnTo>
                      <a:pt x="3" y="14"/>
                    </a:lnTo>
                    <a:lnTo>
                      <a:pt x="1" y="14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3" y="4"/>
                    </a:lnTo>
                    <a:lnTo>
                      <a:pt x="4" y="4"/>
                    </a:lnTo>
                    <a:lnTo>
                      <a:pt x="5" y="4"/>
                    </a:lnTo>
                    <a:lnTo>
                      <a:pt x="7" y="4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5" y="4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19" y="3"/>
                    </a:lnTo>
                    <a:lnTo>
                      <a:pt x="20" y="2"/>
                    </a:lnTo>
                    <a:lnTo>
                      <a:pt x="23" y="2"/>
                    </a:lnTo>
                    <a:lnTo>
                      <a:pt x="24" y="1"/>
                    </a:lnTo>
                    <a:lnTo>
                      <a:pt x="26" y="0"/>
                    </a:lnTo>
                    <a:lnTo>
                      <a:pt x="27" y="0"/>
                    </a:lnTo>
                    <a:lnTo>
                      <a:pt x="28" y="0"/>
                    </a:lnTo>
                    <a:lnTo>
                      <a:pt x="29" y="0"/>
                    </a:lnTo>
                    <a:lnTo>
                      <a:pt x="31" y="0"/>
                    </a:lnTo>
                    <a:lnTo>
                      <a:pt x="31" y="1"/>
                    </a:lnTo>
                    <a:lnTo>
                      <a:pt x="31" y="2"/>
                    </a:lnTo>
                    <a:lnTo>
                      <a:pt x="31" y="3"/>
                    </a:lnTo>
                    <a:lnTo>
                      <a:pt x="30" y="4"/>
                    </a:lnTo>
                    <a:lnTo>
                      <a:pt x="29" y="4"/>
                    </a:lnTo>
                    <a:lnTo>
                      <a:pt x="28" y="4"/>
                    </a:lnTo>
                    <a:lnTo>
                      <a:pt x="27" y="6"/>
                    </a:lnTo>
                    <a:lnTo>
                      <a:pt x="27" y="7"/>
                    </a:lnTo>
                    <a:lnTo>
                      <a:pt x="27" y="8"/>
                    </a:lnTo>
                    <a:lnTo>
                      <a:pt x="27" y="9"/>
                    </a:lnTo>
                    <a:lnTo>
                      <a:pt x="26" y="9"/>
                    </a:lnTo>
                    <a:lnTo>
                      <a:pt x="26" y="10"/>
                    </a:lnTo>
                    <a:lnTo>
                      <a:pt x="24" y="11"/>
                    </a:lnTo>
                    <a:lnTo>
                      <a:pt x="23" y="11"/>
                    </a:lnTo>
                    <a:lnTo>
                      <a:pt x="21" y="11"/>
                    </a:lnTo>
                    <a:lnTo>
                      <a:pt x="19" y="11"/>
                    </a:lnTo>
                    <a:lnTo>
                      <a:pt x="18" y="11"/>
                    </a:lnTo>
                    <a:lnTo>
                      <a:pt x="16" y="11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76" name="Freeform 113">
                <a:extLst>
                  <a:ext uri="{FF2B5EF4-FFF2-40B4-BE49-F238E27FC236}">
                    <a16:creationId xmlns:a16="http://schemas.microsoft.com/office/drawing/2014/main" id="{EF551591-1231-4A7D-8A5D-23E0C40B4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5" y="1830"/>
                <a:ext cx="15" cy="15"/>
              </a:xfrm>
              <a:custGeom>
                <a:avLst/>
                <a:gdLst>
                  <a:gd name="T0" fmla="*/ 0 w 14"/>
                  <a:gd name="T1" fmla="*/ 0 h 14"/>
                  <a:gd name="T2" fmla="*/ 2 w 14"/>
                  <a:gd name="T3" fmla="*/ 13 h 14"/>
                  <a:gd name="T4" fmla="*/ 13 w 14"/>
                  <a:gd name="T5" fmla="*/ 0 h 14"/>
                  <a:gd name="T6" fmla="*/ 0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0" y="0"/>
                    </a:moveTo>
                    <a:lnTo>
                      <a:pt x="2" y="13"/>
                    </a:lnTo>
                    <a:lnTo>
                      <a:pt x="13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77" name="Freeform 114">
                <a:extLst>
                  <a:ext uri="{FF2B5EF4-FFF2-40B4-BE49-F238E27FC236}">
                    <a16:creationId xmlns:a16="http://schemas.microsoft.com/office/drawing/2014/main" id="{1595E1A3-7EDE-4394-98BE-0936A080C1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6" y="1848"/>
                <a:ext cx="17" cy="25"/>
              </a:xfrm>
              <a:custGeom>
                <a:avLst/>
                <a:gdLst>
                  <a:gd name="T0" fmla="*/ 11 w 15"/>
                  <a:gd name="T1" fmla="*/ 0 h 23"/>
                  <a:gd name="T2" fmla="*/ 2 w 15"/>
                  <a:gd name="T3" fmla="*/ 6 h 23"/>
                  <a:gd name="T4" fmla="*/ 0 w 15"/>
                  <a:gd name="T5" fmla="*/ 17 h 23"/>
                  <a:gd name="T6" fmla="*/ 5 w 15"/>
                  <a:gd name="T7" fmla="*/ 22 h 23"/>
                  <a:gd name="T8" fmla="*/ 14 w 15"/>
                  <a:gd name="T9" fmla="*/ 11 h 23"/>
                  <a:gd name="T10" fmla="*/ 11 w 15"/>
                  <a:gd name="T1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23">
                    <a:moveTo>
                      <a:pt x="11" y="0"/>
                    </a:moveTo>
                    <a:lnTo>
                      <a:pt x="2" y="6"/>
                    </a:lnTo>
                    <a:lnTo>
                      <a:pt x="0" y="17"/>
                    </a:lnTo>
                    <a:lnTo>
                      <a:pt x="5" y="22"/>
                    </a:lnTo>
                    <a:lnTo>
                      <a:pt x="14" y="11"/>
                    </a:lnTo>
                    <a:lnTo>
                      <a:pt x="11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78" name="Freeform 115">
                <a:extLst>
                  <a:ext uri="{FF2B5EF4-FFF2-40B4-BE49-F238E27FC236}">
                    <a16:creationId xmlns:a16="http://schemas.microsoft.com/office/drawing/2014/main" id="{66FA4CC5-4D5C-4BAA-909C-546ADC006B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6" y="2220"/>
                <a:ext cx="34" cy="22"/>
              </a:xfrm>
              <a:custGeom>
                <a:avLst/>
                <a:gdLst>
                  <a:gd name="T0" fmla="*/ 6 w 30"/>
                  <a:gd name="T1" fmla="*/ 19 h 20"/>
                  <a:gd name="T2" fmla="*/ 18 w 30"/>
                  <a:gd name="T3" fmla="*/ 19 h 20"/>
                  <a:gd name="T4" fmla="*/ 29 w 30"/>
                  <a:gd name="T5" fmla="*/ 10 h 20"/>
                  <a:gd name="T6" fmla="*/ 13 w 30"/>
                  <a:gd name="T7" fmla="*/ 0 h 20"/>
                  <a:gd name="T8" fmla="*/ 0 w 30"/>
                  <a:gd name="T9" fmla="*/ 2 h 20"/>
                  <a:gd name="T10" fmla="*/ 0 w 30"/>
                  <a:gd name="T11" fmla="*/ 14 h 20"/>
                  <a:gd name="T12" fmla="*/ 6 w 30"/>
                  <a:gd name="T13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20">
                    <a:moveTo>
                      <a:pt x="6" y="19"/>
                    </a:moveTo>
                    <a:lnTo>
                      <a:pt x="18" y="19"/>
                    </a:lnTo>
                    <a:lnTo>
                      <a:pt x="29" y="10"/>
                    </a:lnTo>
                    <a:lnTo>
                      <a:pt x="13" y="0"/>
                    </a:lnTo>
                    <a:lnTo>
                      <a:pt x="0" y="2"/>
                    </a:lnTo>
                    <a:lnTo>
                      <a:pt x="0" y="14"/>
                    </a:lnTo>
                    <a:lnTo>
                      <a:pt x="6" y="1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79" name="Freeform 116">
                <a:extLst>
                  <a:ext uri="{FF2B5EF4-FFF2-40B4-BE49-F238E27FC236}">
                    <a16:creationId xmlns:a16="http://schemas.microsoft.com/office/drawing/2014/main" id="{ECD10540-4656-434D-A7D8-D7AD66CF6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3" y="3173"/>
                <a:ext cx="15" cy="15"/>
              </a:xfrm>
              <a:custGeom>
                <a:avLst/>
                <a:gdLst>
                  <a:gd name="T0" fmla="*/ 7 w 14"/>
                  <a:gd name="T1" fmla="*/ 12 h 13"/>
                  <a:gd name="T2" fmla="*/ 7 w 14"/>
                  <a:gd name="T3" fmla="*/ 11 h 13"/>
                  <a:gd name="T4" fmla="*/ 8 w 14"/>
                  <a:gd name="T5" fmla="*/ 11 h 13"/>
                  <a:gd name="T6" fmla="*/ 9 w 14"/>
                  <a:gd name="T7" fmla="*/ 11 h 13"/>
                  <a:gd name="T8" fmla="*/ 10 w 14"/>
                  <a:gd name="T9" fmla="*/ 10 h 13"/>
                  <a:gd name="T10" fmla="*/ 11 w 14"/>
                  <a:gd name="T11" fmla="*/ 8 h 13"/>
                  <a:gd name="T12" fmla="*/ 13 w 14"/>
                  <a:gd name="T13" fmla="*/ 8 h 13"/>
                  <a:gd name="T14" fmla="*/ 13 w 14"/>
                  <a:gd name="T15" fmla="*/ 6 h 13"/>
                  <a:gd name="T16" fmla="*/ 13 w 14"/>
                  <a:gd name="T17" fmla="*/ 5 h 13"/>
                  <a:gd name="T18" fmla="*/ 13 w 14"/>
                  <a:gd name="T19" fmla="*/ 4 h 13"/>
                  <a:gd name="T20" fmla="*/ 13 w 14"/>
                  <a:gd name="T21" fmla="*/ 3 h 13"/>
                  <a:gd name="T22" fmla="*/ 11 w 14"/>
                  <a:gd name="T23" fmla="*/ 3 h 13"/>
                  <a:gd name="T24" fmla="*/ 11 w 14"/>
                  <a:gd name="T25" fmla="*/ 2 h 13"/>
                  <a:gd name="T26" fmla="*/ 11 w 14"/>
                  <a:gd name="T27" fmla="*/ 1 h 13"/>
                  <a:gd name="T28" fmla="*/ 10 w 14"/>
                  <a:gd name="T29" fmla="*/ 1 h 13"/>
                  <a:gd name="T30" fmla="*/ 9 w 14"/>
                  <a:gd name="T31" fmla="*/ 0 h 13"/>
                  <a:gd name="T32" fmla="*/ 8 w 14"/>
                  <a:gd name="T33" fmla="*/ 0 h 13"/>
                  <a:gd name="T34" fmla="*/ 7 w 14"/>
                  <a:gd name="T35" fmla="*/ 0 h 13"/>
                  <a:gd name="T36" fmla="*/ 4 w 14"/>
                  <a:gd name="T37" fmla="*/ 0 h 13"/>
                  <a:gd name="T38" fmla="*/ 3 w 14"/>
                  <a:gd name="T39" fmla="*/ 0 h 13"/>
                  <a:gd name="T40" fmla="*/ 2 w 14"/>
                  <a:gd name="T41" fmla="*/ 0 h 13"/>
                  <a:gd name="T42" fmla="*/ 2 w 14"/>
                  <a:gd name="T43" fmla="*/ 1 h 13"/>
                  <a:gd name="T44" fmla="*/ 1 w 14"/>
                  <a:gd name="T45" fmla="*/ 1 h 13"/>
                  <a:gd name="T46" fmla="*/ 1 w 14"/>
                  <a:gd name="T47" fmla="*/ 2 h 13"/>
                  <a:gd name="T48" fmla="*/ 1 w 14"/>
                  <a:gd name="T49" fmla="*/ 3 h 13"/>
                  <a:gd name="T50" fmla="*/ 0 w 14"/>
                  <a:gd name="T51" fmla="*/ 3 h 13"/>
                  <a:gd name="T52" fmla="*/ 0 w 14"/>
                  <a:gd name="T53" fmla="*/ 4 h 13"/>
                  <a:gd name="T54" fmla="*/ 0 w 14"/>
                  <a:gd name="T55" fmla="*/ 5 h 13"/>
                  <a:gd name="T56" fmla="*/ 0 w 14"/>
                  <a:gd name="T57" fmla="*/ 6 h 13"/>
                  <a:gd name="T58" fmla="*/ 0 w 14"/>
                  <a:gd name="T59" fmla="*/ 8 h 13"/>
                  <a:gd name="T60" fmla="*/ 1 w 14"/>
                  <a:gd name="T61" fmla="*/ 8 h 13"/>
                  <a:gd name="T62" fmla="*/ 2 w 14"/>
                  <a:gd name="T63" fmla="*/ 10 h 13"/>
                  <a:gd name="T64" fmla="*/ 2 w 14"/>
                  <a:gd name="T65" fmla="*/ 11 h 13"/>
                  <a:gd name="T66" fmla="*/ 3 w 14"/>
                  <a:gd name="T67" fmla="*/ 11 h 13"/>
                  <a:gd name="T68" fmla="*/ 4 w 14"/>
                  <a:gd name="T69" fmla="*/ 11 h 13"/>
                  <a:gd name="T70" fmla="*/ 7 w 14"/>
                  <a:gd name="T71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" h="13">
                    <a:moveTo>
                      <a:pt x="7" y="12"/>
                    </a:moveTo>
                    <a:lnTo>
                      <a:pt x="7" y="11"/>
                    </a:lnTo>
                    <a:lnTo>
                      <a:pt x="8" y="11"/>
                    </a:lnTo>
                    <a:lnTo>
                      <a:pt x="9" y="11"/>
                    </a:lnTo>
                    <a:lnTo>
                      <a:pt x="10" y="10"/>
                    </a:lnTo>
                    <a:lnTo>
                      <a:pt x="11" y="8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3" y="5"/>
                    </a:lnTo>
                    <a:lnTo>
                      <a:pt x="13" y="4"/>
                    </a:lnTo>
                    <a:lnTo>
                      <a:pt x="13" y="3"/>
                    </a:lnTo>
                    <a:lnTo>
                      <a:pt x="11" y="3"/>
                    </a:lnTo>
                    <a:lnTo>
                      <a:pt x="11" y="2"/>
                    </a:lnTo>
                    <a:lnTo>
                      <a:pt x="11" y="1"/>
                    </a:lnTo>
                    <a:lnTo>
                      <a:pt x="10" y="1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1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3" y="11"/>
                    </a:lnTo>
                    <a:lnTo>
                      <a:pt x="4" y="11"/>
                    </a:lnTo>
                    <a:lnTo>
                      <a:pt x="7" y="1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80" name="Freeform 117">
                <a:extLst>
                  <a:ext uri="{FF2B5EF4-FFF2-40B4-BE49-F238E27FC236}">
                    <a16:creationId xmlns:a16="http://schemas.microsoft.com/office/drawing/2014/main" id="{3288BEE6-86FC-4088-9B06-D81DFDA17D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1" y="3168"/>
                <a:ext cx="17" cy="18"/>
              </a:xfrm>
              <a:custGeom>
                <a:avLst/>
                <a:gdLst>
                  <a:gd name="T0" fmla="*/ 2 w 15"/>
                  <a:gd name="T1" fmla="*/ 5 h 16"/>
                  <a:gd name="T2" fmla="*/ 9 w 15"/>
                  <a:gd name="T3" fmla="*/ 0 h 16"/>
                  <a:gd name="T4" fmla="*/ 14 w 15"/>
                  <a:gd name="T5" fmla="*/ 5 h 16"/>
                  <a:gd name="T6" fmla="*/ 13 w 15"/>
                  <a:gd name="T7" fmla="*/ 15 h 16"/>
                  <a:gd name="T8" fmla="*/ 0 w 15"/>
                  <a:gd name="T9" fmla="*/ 11 h 16"/>
                  <a:gd name="T10" fmla="*/ 2 w 15"/>
                  <a:gd name="T11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6">
                    <a:moveTo>
                      <a:pt x="2" y="5"/>
                    </a:moveTo>
                    <a:lnTo>
                      <a:pt x="9" y="0"/>
                    </a:lnTo>
                    <a:lnTo>
                      <a:pt x="14" y="5"/>
                    </a:lnTo>
                    <a:lnTo>
                      <a:pt x="13" y="15"/>
                    </a:lnTo>
                    <a:lnTo>
                      <a:pt x="0" y="11"/>
                    </a:lnTo>
                    <a:lnTo>
                      <a:pt x="2" y="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81" name="Freeform 118">
                <a:extLst>
                  <a:ext uri="{FF2B5EF4-FFF2-40B4-BE49-F238E27FC236}">
                    <a16:creationId xmlns:a16="http://schemas.microsoft.com/office/drawing/2014/main" id="{3AC24653-B545-4BE8-8B51-F5499D67B7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1" y="2552"/>
                <a:ext cx="29" cy="57"/>
              </a:xfrm>
              <a:custGeom>
                <a:avLst/>
                <a:gdLst>
                  <a:gd name="T0" fmla="*/ 12 w 25"/>
                  <a:gd name="T1" fmla="*/ 0 h 51"/>
                  <a:gd name="T2" fmla="*/ 2 w 25"/>
                  <a:gd name="T3" fmla="*/ 15 h 51"/>
                  <a:gd name="T4" fmla="*/ 0 w 25"/>
                  <a:gd name="T5" fmla="*/ 34 h 51"/>
                  <a:gd name="T6" fmla="*/ 16 w 25"/>
                  <a:gd name="T7" fmla="*/ 50 h 51"/>
                  <a:gd name="T8" fmla="*/ 24 w 25"/>
                  <a:gd name="T9" fmla="*/ 26 h 51"/>
                  <a:gd name="T10" fmla="*/ 12 w 25"/>
                  <a:gd name="T11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51">
                    <a:moveTo>
                      <a:pt x="12" y="0"/>
                    </a:moveTo>
                    <a:lnTo>
                      <a:pt x="2" y="15"/>
                    </a:lnTo>
                    <a:lnTo>
                      <a:pt x="0" y="34"/>
                    </a:lnTo>
                    <a:lnTo>
                      <a:pt x="16" y="50"/>
                    </a:lnTo>
                    <a:lnTo>
                      <a:pt x="24" y="26"/>
                    </a:lnTo>
                    <a:lnTo>
                      <a:pt x="12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82" name="Freeform 119">
                <a:extLst>
                  <a:ext uri="{FF2B5EF4-FFF2-40B4-BE49-F238E27FC236}">
                    <a16:creationId xmlns:a16="http://schemas.microsoft.com/office/drawing/2014/main" id="{70E92081-C498-46B9-986A-1F9A1617C2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8" y="3678"/>
                <a:ext cx="74" cy="147"/>
              </a:xfrm>
              <a:custGeom>
                <a:avLst/>
                <a:gdLst>
                  <a:gd name="T0" fmla="*/ 5 w 66"/>
                  <a:gd name="T1" fmla="*/ 0 h 132"/>
                  <a:gd name="T2" fmla="*/ 5 w 66"/>
                  <a:gd name="T3" fmla="*/ 16 h 132"/>
                  <a:gd name="T4" fmla="*/ 13 w 66"/>
                  <a:gd name="T5" fmla="*/ 34 h 132"/>
                  <a:gd name="T6" fmla="*/ 20 w 66"/>
                  <a:gd name="T7" fmla="*/ 48 h 132"/>
                  <a:gd name="T8" fmla="*/ 14 w 66"/>
                  <a:gd name="T9" fmla="*/ 66 h 132"/>
                  <a:gd name="T10" fmla="*/ 0 w 66"/>
                  <a:gd name="T11" fmla="*/ 83 h 132"/>
                  <a:gd name="T12" fmla="*/ 2 w 66"/>
                  <a:gd name="T13" fmla="*/ 94 h 132"/>
                  <a:gd name="T14" fmla="*/ 7 w 66"/>
                  <a:gd name="T15" fmla="*/ 125 h 132"/>
                  <a:gd name="T16" fmla="*/ 20 w 66"/>
                  <a:gd name="T17" fmla="*/ 131 h 132"/>
                  <a:gd name="T18" fmla="*/ 24 w 66"/>
                  <a:gd name="T19" fmla="*/ 110 h 132"/>
                  <a:gd name="T20" fmla="*/ 38 w 66"/>
                  <a:gd name="T21" fmla="*/ 96 h 132"/>
                  <a:gd name="T22" fmla="*/ 60 w 66"/>
                  <a:gd name="T23" fmla="*/ 83 h 132"/>
                  <a:gd name="T24" fmla="*/ 65 w 66"/>
                  <a:gd name="T25" fmla="*/ 67 h 132"/>
                  <a:gd name="T26" fmla="*/ 64 w 66"/>
                  <a:gd name="T27" fmla="*/ 55 h 132"/>
                  <a:gd name="T28" fmla="*/ 40 w 66"/>
                  <a:gd name="T29" fmla="*/ 55 h 132"/>
                  <a:gd name="T30" fmla="*/ 39 w 66"/>
                  <a:gd name="T31" fmla="*/ 36 h 132"/>
                  <a:gd name="T32" fmla="*/ 32 w 66"/>
                  <a:gd name="T33" fmla="*/ 36 h 132"/>
                  <a:gd name="T34" fmla="*/ 23 w 66"/>
                  <a:gd name="T35" fmla="*/ 32 h 132"/>
                  <a:gd name="T36" fmla="*/ 24 w 66"/>
                  <a:gd name="T37" fmla="*/ 14 h 132"/>
                  <a:gd name="T38" fmla="*/ 19 w 66"/>
                  <a:gd name="T39" fmla="*/ 2 h 132"/>
                  <a:gd name="T40" fmla="*/ 5 w 66"/>
                  <a:gd name="T41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6" h="132">
                    <a:moveTo>
                      <a:pt x="5" y="0"/>
                    </a:moveTo>
                    <a:lnTo>
                      <a:pt x="5" y="16"/>
                    </a:lnTo>
                    <a:lnTo>
                      <a:pt x="13" y="34"/>
                    </a:lnTo>
                    <a:lnTo>
                      <a:pt x="20" y="48"/>
                    </a:lnTo>
                    <a:lnTo>
                      <a:pt x="14" y="66"/>
                    </a:lnTo>
                    <a:lnTo>
                      <a:pt x="0" y="83"/>
                    </a:lnTo>
                    <a:lnTo>
                      <a:pt x="2" y="94"/>
                    </a:lnTo>
                    <a:lnTo>
                      <a:pt x="7" y="125"/>
                    </a:lnTo>
                    <a:lnTo>
                      <a:pt x="20" y="131"/>
                    </a:lnTo>
                    <a:lnTo>
                      <a:pt x="24" y="110"/>
                    </a:lnTo>
                    <a:lnTo>
                      <a:pt x="38" y="96"/>
                    </a:lnTo>
                    <a:lnTo>
                      <a:pt x="60" y="83"/>
                    </a:lnTo>
                    <a:lnTo>
                      <a:pt x="65" y="67"/>
                    </a:lnTo>
                    <a:lnTo>
                      <a:pt x="64" y="55"/>
                    </a:lnTo>
                    <a:lnTo>
                      <a:pt x="40" y="55"/>
                    </a:lnTo>
                    <a:lnTo>
                      <a:pt x="39" y="36"/>
                    </a:lnTo>
                    <a:lnTo>
                      <a:pt x="32" y="36"/>
                    </a:lnTo>
                    <a:lnTo>
                      <a:pt x="23" y="32"/>
                    </a:lnTo>
                    <a:lnTo>
                      <a:pt x="24" y="14"/>
                    </a:lnTo>
                    <a:lnTo>
                      <a:pt x="19" y="2"/>
                    </a:lnTo>
                    <a:lnTo>
                      <a:pt x="5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83" name="Freeform 120">
                <a:extLst>
                  <a:ext uri="{FF2B5EF4-FFF2-40B4-BE49-F238E27FC236}">
                    <a16:creationId xmlns:a16="http://schemas.microsoft.com/office/drawing/2014/main" id="{8C6337F6-C273-4D18-97C9-CC8710B8C9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7" y="3799"/>
                <a:ext cx="141" cy="141"/>
              </a:xfrm>
              <a:custGeom>
                <a:avLst/>
                <a:gdLst>
                  <a:gd name="T0" fmla="*/ 98 w 126"/>
                  <a:gd name="T1" fmla="*/ 1 h 126"/>
                  <a:gd name="T2" fmla="*/ 95 w 126"/>
                  <a:gd name="T3" fmla="*/ 21 h 126"/>
                  <a:gd name="T4" fmla="*/ 75 w 126"/>
                  <a:gd name="T5" fmla="*/ 31 h 126"/>
                  <a:gd name="T6" fmla="*/ 60 w 126"/>
                  <a:gd name="T7" fmla="*/ 51 h 126"/>
                  <a:gd name="T8" fmla="*/ 24 w 126"/>
                  <a:gd name="T9" fmla="*/ 67 h 126"/>
                  <a:gd name="T10" fmla="*/ 0 w 126"/>
                  <a:gd name="T11" fmla="*/ 89 h 126"/>
                  <a:gd name="T12" fmla="*/ 4 w 126"/>
                  <a:gd name="T13" fmla="*/ 105 h 126"/>
                  <a:gd name="T14" fmla="*/ 26 w 126"/>
                  <a:gd name="T15" fmla="*/ 125 h 126"/>
                  <a:gd name="T16" fmla="*/ 54 w 126"/>
                  <a:gd name="T17" fmla="*/ 103 h 126"/>
                  <a:gd name="T18" fmla="*/ 63 w 126"/>
                  <a:gd name="T19" fmla="*/ 81 h 126"/>
                  <a:gd name="T20" fmla="*/ 82 w 126"/>
                  <a:gd name="T21" fmla="*/ 65 h 126"/>
                  <a:gd name="T22" fmla="*/ 94 w 126"/>
                  <a:gd name="T23" fmla="*/ 65 h 126"/>
                  <a:gd name="T24" fmla="*/ 99 w 126"/>
                  <a:gd name="T25" fmla="*/ 48 h 126"/>
                  <a:gd name="T26" fmla="*/ 112 w 126"/>
                  <a:gd name="T27" fmla="*/ 33 h 126"/>
                  <a:gd name="T28" fmla="*/ 125 w 126"/>
                  <a:gd name="T29" fmla="*/ 21 h 126"/>
                  <a:gd name="T30" fmla="*/ 120 w 126"/>
                  <a:gd name="T31" fmla="*/ 4 h 126"/>
                  <a:gd name="T32" fmla="*/ 112 w 126"/>
                  <a:gd name="T33" fmla="*/ 14 h 126"/>
                  <a:gd name="T34" fmla="*/ 111 w 126"/>
                  <a:gd name="T35" fmla="*/ 0 h 126"/>
                  <a:gd name="T36" fmla="*/ 98 w 126"/>
                  <a:gd name="T37" fmla="*/ 1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6" h="126">
                    <a:moveTo>
                      <a:pt x="98" y="1"/>
                    </a:moveTo>
                    <a:lnTo>
                      <a:pt x="95" y="21"/>
                    </a:lnTo>
                    <a:lnTo>
                      <a:pt x="75" y="31"/>
                    </a:lnTo>
                    <a:lnTo>
                      <a:pt x="60" y="51"/>
                    </a:lnTo>
                    <a:lnTo>
                      <a:pt x="24" y="67"/>
                    </a:lnTo>
                    <a:lnTo>
                      <a:pt x="0" y="89"/>
                    </a:lnTo>
                    <a:lnTo>
                      <a:pt x="4" y="105"/>
                    </a:lnTo>
                    <a:lnTo>
                      <a:pt x="26" y="125"/>
                    </a:lnTo>
                    <a:lnTo>
                      <a:pt x="54" y="103"/>
                    </a:lnTo>
                    <a:lnTo>
                      <a:pt x="63" y="81"/>
                    </a:lnTo>
                    <a:lnTo>
                      <a:pt x="82" y="65"/>
                    </a:lnTo>
                    <a:lnTo>
                      <a:pt x="94" y="65"/>
                    </a:lnTo>
                    <a:lnTo>
                      <a:pt x="99" y="48"/>
                    </a:lnTo>
                    <a:lnTo>
                      <a:pt x="112" y="33"/>
                    </a:lnTo>
                    <a:lnTo>
                      <a:pt x="125" y="21"/>
                    </a:lnTo>
                    <a:lnTo>
                      <a:pt x="120" y="4"/>
                    </a:lnTo>
                    <a:lnTo>
                      <a:pt x="112" y="14"/>
                    </a:lnTo>
                    <a:lnTo>
                      <a:pt x="111" y="0"/>
                    </a:lnTo>
                    <a:lnTo>
                      <a:pt x="98" y="1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84" name="Freeform 121">
                <a:extLst>
                  <a:ext uri="{FF2B5EF4-FFF2-40B4-BE49-F238E27FC236}">
                    <a16:creationId xmlns:a16="http://schemas.microsoft.com/office/drawing/2014/main" id="{556472F8-5BED-48AF-9D19-17C23F32B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9" y="3046"/>
                <a:ext cx="29" cy="27"/>
              </a:xfrm>
              <a:custGeom>
                <a:avLst/>
                <a:gdLst>
                  <a:gd name="T0" fmla="*/ 2 w 26"/>
                  <a:gd name="T1" fmla="*/ 0 h 24"/>
                  <a:gd name="T2" fmla="*/ 13 w 26"/>
                  <a:gd name="T3" fmla="*/ 2 h 24"/>
                  <a:gd name="T4" fmla="*/ 21 w 26"/>
                  <a:gd name="T5" fmla="*/ 10 h 24"/>
                  <a:gd name="T6" fmla="*/ 25 w 26"/>
                  <a:gd name="T7" fmla="*/ 21 h 24"/>
                  <a:gd name="T8" fmla="*/ 15 w 26"/>
                  <a:gd name="T9" fmla="*/ 23 h 24"/>
                  <a:gd name="T10" fmla="*/ 0 w 26"/>
                  <a:gd name="T11" fmla="*/ 9 h 24"/>
                  <a:gd name="T12" fmla="*/ 2 w 26"/>
                  <a:gd name="T13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4">
                    <a:moveTo>
                      <a:pt x="2" y="0"/>
                    </a:moveTo>
                    <a:lnTo>
                      <a:pt x="13" y="2"/>
                    </a:lnTo>
                    <a:lnTo>
                      <a:pt x="21" y="10"/>
                    </a:lnTo>
                    <a:lnTo>
                      <a:pt x="25" y="21"/>
                    </a:lnTo>
                    <a:lnTo>
                      <a:pt x="15" y="23"/>
                    </a:lnTo>
                    <a:lnTo>
                      <a:pt x="0" y="9"/>
                    </a:lnTo>
                    <a:lnTo>
                      <a:pt x="2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85" name="Freeform 122">
                <a:extLst>
                  <a:ext uri="{FF2B5EF4-FFF2-40B4-BE49-F238E27FC236}">
                    <a16:creationId xmlns:a16="http://schemas.microsoft.com/office/drawing/2014/main" id="{272C3AF1-C057-425C-9B84-72681A0311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2" y="3196"/>
                <a:ext cx="25" cy="18"/>
              </a:xfrm>
              <a:custGeom>
                <a:avLst/>
                <a:gdLst>
                  <a:gd name="T0" fmla="*/ 3 w 21"/>
                  <a:gd name="T1" fmla="*/ 2 h 15"/>
                  <a:gd name="T2" fmla="*/ 0 w 21"/>
                  <a:gd name="T3" fmla="*/ 14 h 15"/>
                  <a:gd name="T4" fmla="*/ 16 w 21"/>
                  <a:gd name="T5" fmla="*/ 8 h 15"/>
                  <a:gd name="T6" fmla="*/ 20 w 21"/>
                  <a:gd name="T7" fmla="*/ 0 h 15"/>
                  <a:gd name="T8" fmla="*/ 3 w 21"/>
                  <a:gd name="T9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5">
                    <a:moveTo>
                      <a:pt x="3" y="2"/>
                    </a:moveTo>
                    <a:lnTo>
                      <a:pt x="0" y="14"/>
                    </a:lnTo>
                    <a:lnTo>
                      <a:pt x="16" y="8"/>
                    </a:lnTo>
                    <a:lnTo>
                      <a:pt x="20" y="0"/>
                    </a:lnTo>
                    <a:lnTo>
                      <a:pt x="3" y="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86" name="Freeform 123">
                <a:extLst>
                  <a:ext uri="{FF2B5EF4-FFF2-40B4-BE49-F238E27FC236}">
                    <a16:creationId xmlns:a16="http://schemas.microsoft.com/office/drawing/2014/main" id="{F83F4F1F-D093-4857-B075-247A72E9F1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2" y="3052"/>
                <a:ext cx="32" cy="17"/>
              </a:xfrm>
              <a:custGeom>
                <a:avLst/>
                <a:gdLst>
                  <a:gd name="T0" fmla="*/ 14 w 28"/>
                  <a:gd name="T1" fmla="*/ 13 h 14"/>
                  <a:gd name="T2" fmla="*/ 11 w 28"/>
                  <a:gd name="T3" fmla="*/ 13 h 14"/>
                  <a:gd name="T4" fmla="*/ 10 w 28"/>
                  <a:gd name="T5" fmla="*/ 13 h 14"/>
                  <a:gd name="T6" fmla="*/ 8 w 28"/>
                  <a:gd name="T7" fmla="*/ 13 h 14"/>
                  <a:gd name="T8" fmla="*/ 6 w 28"/>
                  <a:gd name="T9" fmla="*/ 13 h 14"/>
                  <a:gd name="T10" fmla="*/ 5 w 28"/>
                  <a:gd name="T11" fmla="*/ 13 h 14"/>
                  <a:gd name="T12" fmla="*/ 3 w 28"/>
                  <a:gd name="T13" fmla="*/ 13 h 14"/>
                  <a:gd name="T14" fmla="*/ 2 w 28"/>
                  <a:gd name="T15" fmla="*/ 13 h 14"/>
                  <a:gd name="T16" fmla="*/ 1 w 28"/>
                  <a:gd name="T17" fmla="*/ 13 h 14"/>
                  <a:gd name="T18" fmla="*/ 0 w 28"/>
                  <a:gd name="T19" fmla="*/ 10 h 14"/>
                  <a:gd name="T20" fmla="*/ 0 w 28"/>
                  <a:gd name="T21" fmla="*/ 7 h 14"/>
                  <a:gd name="T22" fmla="*/ 0 w 28"/>
                  <a:gd name="T23" fmla="*/ 5 h 14"/>
                  <a:gd name="T24" fmla="*/ 1 w 28"/>
                  <a:gd name="T25" fmla="*/ 5 h 14"/>
                  <a:gd name="T26" fmla="*/ 2 w 28"/>
                  <a:gd name="T27" fmla="*/ 2 h 14"/>
                  <a:gd name="T28" fmla="*/ 3 w 28"/>
                  <a:gd name="T29" fmla="*/ 2 h 14"/>
                  <a:gd name="T30" fmla="*/ 3 w 28"/>
                  <a:gd name="T31" fmla="*/ 0 h 14"/>
                  <a:gd name="T32" fmla="*/ 5 w 28"/>
                  <a:gd name="T33" fmla="*/ 0 h 14"/>
                  <a:gd name="T34" fmla="*/ 6 w 28"/>
                  <a:gd name="T35" fmla="*/ 0 h 14"/>
                  <a:gd name="T36" fmla="*/ 8 w 28"/>
                  <a:gd name="T37" fmla="*/ 0 h 14"/>
                  <a:gd name="T38" fmla="*/ 10 w 28"/>
                  <a:gd name="T39" fmla="*/ 0 h 14"/>
                  <a:gd name="T40" fmla="*/ 11 w 28"/>
                  <a:gd name="T41" fmla="*/ 0 h 14"/>
                  <a:gd name="T42" fmla="*/ 14 w 28"/>
                  <a:gd name="T43" fmla="*/ 0 h 14"/>
                  <a:gd name="T44" fmla="*/ 17 w 28"/>
                  <a:gd name="T45" fmla="*/ 0 h 14"/>
                  <a:gd name="T46" fmla="*/ 18 w 28"/>
                  <a:gd name="T47" fmla="*/ 0 h 14"/>
                  <a:gd name="T48" fmla="*/ 20 w 28"/>
                  <a:gd name="T49" fmla="*/ 0 h 14"/>
                  <a:gd name="T50" fmla="*/ 21 w 28"/>
                  <a:gd name="T51" fmla="*/ 0 h 14"/>
                  <a:gd name="T52" fmla="*/ 23 w 28"/>
                  <a:gd name="T53" fmla="*/ 0 h 14"/>
                  <a:gd name="T54" fmla="*/ 24 w 28"/>
                  <a:gd name="T55" fmla="*/ 2 h 14"/>
                  <a:gd name="T56" fmla="*/ 25 w 28"/>
                  <a:gd name="T57" fmla="*/ 5 h 14"/>
                  <a:gd name="T58" fmla="*/ 26 w 28"/>
                  <a:gd name="T59" fmla="*/ 5 h 14"/>
                  <a:gd name="T60" fmla="*/ 26 w 28"/>
                  <a:gd name="T61" fmla="*/ 7 h 14"/>
                  <a:gd name="T62" fmla="*/ 27 w 28"/>
                  <a:gd name="T63" fmla="*/ 7 h 14"/>
                  <a:gd name="T64" fmla="*/ 26 w 28"/>
                  <a:gd name="T65" fmla="*/ 10 h 14"/>
                  <a:gd name="T66" fmla="*/ 25 w 28"/>
                  <a:gd name="T67" fmla="*/ 13 h 14"/>
                  <a:gd name="T68" fmla="*/ 24 w 28"/>
                  <a:gd name="T69" fmla="*/ 13 h 14"/>
                  <a:gd name="T70" fmla="*/ 23 w 28"/>
                  <a:gd name="T71" fmla="*/ 13 h 14"/>
                  <a:gd name="T72" fmla="*/ 21 w 28"/>
                  <a:gd name="T73" fmla="*/ 13 h 14"/>
                  <a:gd name="T74" fmla="*/ 20 w 28"/>
                  <a:gd name="T75" fmla="*/ 13 h 14"/>
                  <a:gd name="T76" fmla="*/ 18 w 28"/>
                  <a:gd name="T77" fmla="*/ 13 h 14"/>
                  <a:gd name="T78" fmla="*/ 17 w 28"/>
                  <a:gd name="T79" fmla="*/ 13 h 14"/>
                  <a:gd name="T80" fmla="*/ 14 w 28"/>
                  <a:gd name="T81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8" h="14">
                    <a:moveTo>
                      <a:pt x="14" y="13"/>
                    </a:moveTo>
                    <a:lnTo>
                      <a:pt x="11" y="13"/>
                    </a:lnTo>
                    <a:lnTo>
                      <a:pt x="10" y="13"/>
                    </a:lnTo>
                    <a:lnTo>
                      <a:pt x="8" y="13"/>
                    </a:lnTo>
                    <a:lnTo>
                      <a:pt x="6" y="13"/>
                    </a:lnTo>
                    <a:lnTo>
                      <a:pt x="5" y="13"/>
                    </a:lnTo>
                    <a:lnTo>
                      <a:pt x="3" y="13"/>
                    </a:lnTo>
                    <a:lnTo>
                      <a:pt x="2" y="13"/>
                    </a:lnTo>
                    <a:lnTo>
                      <a:pt x="1" y="13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1" y="5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4" y="2"/>
                    </a:lnTo>
                    <a:lnTo>
                      <a:pt x="25" y="5"/>
                    </a:lnTo>
                    <a:lnTo>
                      <a:pt x="26" y="5"/>
                    </a:lnTo>
                    <a:lnTo>
                      <a:pt x="26" y="7"/>
                    </a:lnTo>
                    <a:lnTo>
                      <a:pt x="27" y="7"/>
                    </a:lnTo>
                    <a:lnTo>
                      <a:pt x="26" y="10"/>
                    </a:lnTo>
                    <a:lnTo>
                      <a:pt x="25" y="13"/>
                    </a:lnTo>
                    <a:lnTo>
                      <a:pt x="24" y="13"/>
                    </a:lnTo>
                    <a:lnTo>
                      <a:pt x="23" y="13"/>
                    </a:lnTo>
                    <a:lnTo>
                      <a:pt x="21" y="13"/>
                    </a:lnTo>
                    <a:lnTo>
                      <a:pt x="20" y="13"/>
                    </a:lnTo>
                    <a:lnTo>
                      <a:pt x="18" y="13"/>
                    </a:lnTo>
                    <a:lnTo>
                      <a:pt x="17" y="13"/>
                    </a:lnTo>
                    <a:lnTo>
                      <a:pt x="14" y="1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87" name="Freeform 124">
                <a:extLst>
                  <a:ext uri="{FF2B5EF4-FFF2-40B4-BE49-F238E27FC236}">
                    <a16:creationId xmlns:a16="http://schemas.microsoft.com/office/drawing/2014/main" id="{D0E6E562-B141-448E-8CE7-31DC91C666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5" y="2649"/>
                <a:ext cx="33" cy="48"/>
              </a:xfrm>
              <a:custGeom>
                <a:avLst/>
                <a:gdLst>
                  <a:gd name="T0" fmla="*/ 9 w 29"/>
                  <a:gd name="T1" fmla="*/ 9 h 43"/>
                  <a:gd name="T2" fmla="*/ 0 w 29"/>
                  <a:gd name="T3" fmla="*/ 23 h 43"/>
                  <a:gd name="T4" fmla="*/ 2 w 29"/>
                  <a:gd name="T5" fmla="*/ 42 h 43"/>
                  <a:gd name="T6" fmla="*/ 14 w 29"/>
                  <a:gd name="T7" fmla="*/ 42 h 43"/>
                  <a:gd name="T8" fmla="*/ 28 w 29"/>
                  <a:gd name="T9" fmla="*/ 25 h 43"/>
                  <a:gd name="T10" fmla="*/ 19 w 29"/>
                  <a:gd name="T11" fmla="*/ 0 h 43"/>
                  <a:gd name="T12" fmla="*/ 9 w 29"/>
                  <a:gd name="T13" fmla="*/ 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43">
                    <a:moveTo>
                      <a:pt x="9" y="9"/>
                    </a:moveTo>
                    <a:lnTo>
                      <a:pt x="0" y="23"/>
                    </a:lnTo>
                    <a:lnTo>
                      <a:pt x="2" y="42"/>
                    </a:lnTo>
                    <a:lnTo>
                      <a:pt x="14" y="42"/>
                    </a:lnTo>
                    <a:lnTo>
                      <a:pt x="28" y="25"/>
                    </a:lnTo>
                    <a:lnTo>
                      <a:pt x="19" y="0"/>
                    </a:lnTo>
                    <a:lnTo>
                      <a:pt x="9" y="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88" name="Freeform 125">
                <a:extLst>
                  <a:ext uri="{FF2B5EF4-FFF2-40B4-BE49-F238E27FC236}">
                    <a16:creationId xmlns:a16="http://schemas.microsoft.com/office/drawing/2014/main" id="{465D7EDB-BD68-4977-B157-356C0241B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7" y="2774"/>
                <a:ext cx="32" cy="30"/>
              </a:xfrm>
              <a:custGeom>
                <a:avLst/>
                <a:gdLst>
                  <a:gd name="T0" fmla="*/ 16 w 28"/>
                  <a:gd name="T1" fmla="*/ 5 h 26"/>
                  <a:gd name="T2" fmla="*/ 2 w 28"/>
                  <a:gd name="T3" fmla="*/ 0 h 26"/>
                  <a:gd name="T4" fmla="*/ 0 w 28"/>
                  <a:gd name="T5" fmla="*/ 12 h 26"/>
                  <a:gd name="T6" fmla="*/ 9 w 28"/>
                  <a:gd name="T7" fmla="*/ 22 h 26"/>
                  <a:gd name="T8" fmla="*/ 17 w 28"/>
                  <a:gd name="T9" fmla="*/ 25 h 26"/>
                  <a:gd name="T10" fmla="*/ 18 w 28"/>
                  <a:gd name="T11" fmla="*/ 25 h 26"/>
                  <a:gd name="T12" fmla="*/ 19 w 28"/>
                  <a:gd name="T13" fmla="*/ 25 h 26"/>
                  <a:gd name="T14" fmla="*/ 20 w 28"/>
                  <a:gd name="T15" fmla="*/ 25 h 26"/>
                  <a:gd name="T16" fmla="*/ 21 w 28"/>
                  <a:gd name="T17" fmla="*/ 24 h 26"/>
                  <a:gd name="T18" fmla="*/ 23 w 28"/>
                  <a:gd name="T19" fmla="*/ 23 h 26"/>
                  <a:gd name="T20" fmla="*/ 24 w 28"/>
                  <a:gd name="T21" fmla="*/ 22 h 26"/>
                  <a:gd name="T22" fmla="*/ 25 w 28"/>
                  <a:gd name="T23" fmla="*/ 22 h 26"/>
                  <a:gd name="T24" fmla="*/ 26 w 28"/>
                  <a:gd name="T25" fmla="*/ 21 h 26"/>
                  <a:gd name="T26" fmla="*/ 27 w 28"/>
                  <a:gd name="T27" fmla="*/ 19 h 26"/>
                  <a:gd name="T28" fmla="*/ 27 w 28"/>
                  <a:gd name="T29" fmla="*/ 18 h 26"/>
                  <a:gd name="T30" fmla="*/ 27 w 28"/>
                  <a:gd name="T31" fmla="*/ 16 h 26"/>
                  <a:gd name="T32" fmla="*/ 26 w 28"/>
                  <a:gd name="T33" fmla="*/ 15 h 26"/>
                  <a:gd name="T34" fmla="*/ 25 w 28"/>
                  <a:gd name="T35" fmla="*/ 13 h 26"/>
                  <a:gd name="T36" fmla="*/ 24 w 28"/>
                  <a:gd name="T37" fmla="*/ 11 h 26"/>
                  <a:gd name="T38" fmla="*/ 23 w 28"/>
                  <a:gd name="T39" fmla="*/ 10 h 26"/>
                  <a:gd name="T40" fmla="*/ 21 w 28"/>
                  <a:gd name="T41" fmla="*/ 9 h 26"/>
                  <a:gd name="T42" fmla="*/ 20 w 28"/>
                  <a:gd name="T43" fmla="*/ 8 h 26"/>
                  <a:gd name="T44" fmla="*/ 19 w 28"/>
                  <a:gd name="T45" fmla="*/ 8 h 26"/>
                  <a:gd name="T46" fmla="*/ 18 w 28"/>
                  <a:gd name="T47" fmla="*/ 7 h 26"/>
                  <a:gd name="T48" fmla="*/ 17 w 28"/>
                  <a:gd name="T49" fmla="*/ 6 h 26"/>
                  <a:gd name="T50" fmla="*/ 16 w 28"/>
                  <a:gd name="T51" fmla="*/ 6 h 26"/>
                  <a:gd name="T52" fmla="*/ 16 w 28"/>
                  <a:gd name="T53" fmla="*/ 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8" h="26">
                    <a:moveTo>
                      <a:pt x="16" y="5"/>
                    </a:moveTo>
                    <a:lnTo>
                      <a:pt x="2" y="0"/>
                    </a:lnTo>
                    <a:lnTo>
                      <a:pt x="0" y="12"/>
                    </a:lnTo>
                    <a:lnTo>
                      <a:pt x="9" y="22"/>
                    </a:lnTo>
                    <a:lnTo>
                      <a:pt x="17" y="25"/>
                    </a:lnTo>
                    <a:lnTo>
                      <a:pt x="18" y="25"/>
                    </a:lnTo>
                    <a:lnTo>
                      <a:pt x="19" y="25"/>
                    </a:lnTo>
                    <a:lnTo>
                      <a:pt x="20" y="25"/>
                    </a:lnTo>
                    <a:lnTo>
                      <a:pt x="21" y="24"/>
                    </a:lnTo>
                    <a:lnTo>
                      <a:pt x="23" y="23"/>
                    </a:lnTo>
                    <a:lnTo>
                      <a:pt x="24" y="22"/>
                    </a:lnTo>
                    <a:lnTo>
                      <a:pt x="25" y="22"/>
                    </a:lnTo>
                    <a:lnTo>
                      <a:pt x="26" y="21"/>
                    </a:lnTo>
                    <a:lnTo>
                      <a:pt x="27" y="19"/>
                    </a:lnTo>
                    <a:lnTo>
                      <a:pt x="27" y="18"/>
                    </a:lnTo>
                    <a:lnTo>
                      <a:pt x="27" y="16"/>
                    </a:lnTo>
                    <a:lnTo>
                      <a:pt x="26" y="15"/>
                    </a:lnTo>
                    <a:lnTo>
                      <a:pt x="25" y="13"/>
                    </a:lnTo>
                    <a:lnTo>
                      <a:pt x="24" y="11"/>
                    </a:lnTo>
                    <a:lnTo>
                      <a:pt x="23" y="10"/>
                    </a:lnTo>
                    <a:lnTo>
                      <a:pt x="21" y="9"/>
                    </a:lnTo>
                    <a:lnTo>
                      <a:pt x="20" y="8"/>
                    </a:lnTo>
                    <a:lnTo>
                      <a:pt x="19" y="8"/>
                    </a:lnTo>
                    <a:lnTo>
                      <a:pt x="18" y="7"/>
                    </a:lnTo>
                    <a:lnTo>
                      <a:pt x="17" y="6"/>
                    </a:lnTo>
                    <a:lnTo>
                      <a:pt x="16" y="6"/>
                    </a:lnTo>
                    <a:lnTo>
                      <a:pt x="16" y="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89" name="Freeform 126">
                <a:extLst>
                  <a:ext uri="{FF2B5EF4-FFF2-40B4-BE49-F238E27FC236}">
                    <a16:creationId xmlns:a16="http://schemas.microsoft.com/office/drawing/2014/main" id="{275211D9-4C0F-4292-8B03-A35987003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0" y="2763"/>
                <a:ext cx="36" cy="26"/>
              </a:xfrm>
              <a:custGeom>
                <a:avLst/>
                <a:gdLst>
                  <a:gd name="T0" fmla="*/ 2 w 32"/>
                  <a:gd name="T1" fmla="*/ 3 h 24"/>
                  <a:gd name="T2" fmla="*/ 0 w 32"/>
                  <a:gd name="T3" fmla="*/ 15 h 24"/>
                  <a:gd name="T4" fmla="*/ 11 w 32"/>
                  <a:gd name="T5" fmla="*/ 21 h 24"/>
                  <a:gd name="T6" fmla="*/ 31 w 32"/>
                  <a:gd name="T7" fmla="*/ 23 h 24"/>
                  <a:gd name="T8" fmla="*/ 31 w 32"/>
                  <a:gd name="T9" fmla="*/ 9 h 24"/>
                  <a:gd name="T10" fmla="*/ 16 w 32"/>
                  <a:gd name="T11" fmla="*/ 0 h 24"/>
                  <a:gd name="T12" fmla="*/ 2 w 32"/>
                  <a:gd name="T13" fmla="*/ 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24">
                    <a:moveTo>
                      <a:pt x="2" y="3"/>
                    </a:moveTo>
                    <a:lnTo>
                      <a:pt x="0" y="15"/>
                    </a:lnTo>
                    <a:lnTo>
                      <a:pt x="11" y="21"/>
                    </a:lnTo>
                    <a:lnTo>
                      <a:pt x="31" y="23"/>
                    </a:lnTo>
                    <a:lnTo>
                      <a:pt x="31" y="9"/>
                    </a:lnTo>
                    <a:lnTo>
                      <a:pt x="16" y="0"/>
                    </a:lnTo>
                    <a:lnTo>
                      <a:pt x="2" y="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90" name="Freeform 127">
                <a:extLst>
                  <a:ext uri="{FF2B5EF4-FFF2-40B4-BE49-F238E27FC236}">
                    <a16:creationId xmlns:a16="http://schemas.microsoft.com/office/drawing/2014/main" id="{D154165B-D69D-4562-9736-BDAFFEABB5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" y="2806"/>
                <a:ext cx="25" cy="23"/>
              </a:xfrm>
              <a:custGeom>
                <a:avLst/>
                <a:gdLst>
                  <a:gd name="T0" fmla="*/ 4 w 21"/>
                  <a:gd name="T1" fmla="*/ 0 h 20"/>
                  <a:gd name="T2" fmla="*/ 0 w 21"/>
                  <a:gd name="T3" fmla="*/ 12 h 20"/>
                  <a:gd name="T4" fmla="*/ 4 w 21"/>
                  <a:gd name="T5" fmla="*/ 19 h 20"/>
                  <a:gd name="T6" fmla="*/ 20 w 21"/>
                  <a:gd name="T7" fmla="*/ 15 h 20"/>
                  <a:gd name="T8" fmla="*/ 16 w 21"/>
                  <a:gd name="T9" fmla="*/ 4 h 20"/>
                  <a:gd name="T10" fmla="*/ 4 w 21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0">
                    <a:moveTo>
                      <a:pt x="4" y="0"/>
                    </a:moveTo>
                    <a:lnTo>
                      <a:pt x="0" y="12"/>
                    </a:lnTo>
                    <a:lnTo>
                      <a:pt x="4" y="19"/>
                    </a:lnTo>
                    <a:lnTo>
                      <a:pt x="20" y="15"/>
                    </a:lnTo>
                    <a:lnTo>
                      <a:pt x="16" y="4"/>
                    </a:lnTo>
                    <a:lnTo>
                      <a:pt x="4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91" name="Freeform 128">
                <a:extLst>
                  <a:ext uri="{FF2B5EF4-FFF2-40B4-BE49-F238E27FC236}">
                    <a16:creationId xmlns:a16="http://schemas.microsoft.com/office/drawing/2014/main" id="{B9872515-5D22-4652-A9A1-EE2A19422A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7" y="2801"/>
                <a:ext cx="20" cy="17"/>
              </a:xfrm>
              <a:custGeom>
                <a:avLst/>
                <a:gdLst>
                  <a:gd name="T0" fmla="*/ 0 w 19"/>
                  <a:gd name="T1" fmla="*/ 3 h 14"/>
                  <a:gd name="T2" fmla="*/ 3 w 19"/>
                  <a:gd name="T3" fmla="*/ 13 h 14"/>
                  <a:gd name="T4" fmla="*/ 10 w 19"/>
                  <a:gd name="T5" fmla="*/ 13 h 14"/>
                  <a:gd name="T6" fmla="*/ 16 w 19"/>
                  <a:gd name="T7" fmla="*/ 9 h 14"/>
                  <a:gd name="T8" fmla="*/ 18 w 19"/>
                  <a:gd name="T9" fmla="*/ 0 h 14"/>
                  <a:gd name="T10" fmla="*/ 8 w 19"/>
                  <a:gd name="T11" fmla="*/ 0 h 14"/>
                  <a:gd name="T12" fmla="*/ 0 w 19"/>
                  <a:gd name="T13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4">
                    <a:moveTo>
                      <a:pt x="0" y="3"/>
                    </a:moveTo>
                    <a:lnTo>
                      <a:pt x="3" y="13"/>
                    </a:lnTo>
                    <a:lnTo>
                      <a:pt x="10" y="13"/>
                    </a:lnTo>
                    <a:lnTo>
                      <a:pt x="16" y="9"/>
                    </a:lnTo>
                    <a:lnTo>
                      <a:pt x="18" y="0"/>
                    </a:lnTo>
                    <a:lnTo>
                      <a:pt x="8" y="0"/>
                    </a:lnTo>
                    <a:lnTo>
                      <a:pt x="0" y="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92" name="Freeform 129">
                <a:extLst>
                  <a:ext uri="{FF2B5EF4-FFF2-40B4-BE49-F238E27FC236}">
                    <a16:creationId xmlns:a16="http://schemas.microsoft.com/office/drawing/2014/main" id="{786D7BE4-6C3A-428B-8D43-3D3F36770D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" y="2849"/>
                <a:ext cx="30" cy="42"/>
              </a:xfrm>
              <a:custGeom>
                <a:avLst/>
                <a:gdLst>
                  <a:gd name="T0" fmla="*/ 18 w 27"/>
                  <a:gd name="T1" fmla="*/ 0 h 37"/>
                  <a:gd name="T2" fmla="*/ 8 w 27"/>
                  <a:gd name="T3" fmla="*/ 11 h 37"/>
                  <a:gd name="T4" fmla="*/ 3 w 27"/>
                  <a:gd name="T5" fmla="*/ 27 h 37"/>
                  <a:gd name="T6" fmla="*/ 0 w 27"/>
                  <a:gd name="T7" fmla="*/ 36 h 37"/>
                  <a:gd name="T8" fmla="*/ 13 w 27"/>
                  <a:gd name="T9" fmla="*/ 32 h 37"/>
                  <a:gd name="T10" fmla="*/ 20 w 27"/>
                  <a:gd name="T11" fmla="*/ 19 h 37"/>
                  <a:gd name="T12" fmla="*/ 26 w 27"/>
                  <a:gd name="T13" fmla="*/ 5 h 37"/>
                  <a:gd name="T14" fmla="*/ 18 w 27"/>
                  <a:gd name="T1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37">
                    <a:moveTo>
                      <a:pt x="18" y="0"/>
                    </a:moveTo>
                    <a:lnTo>
                      <a:pt x="8" y="11"/>
                    </a:lnTo>
                    <a:lnTo>
                      <a:pt x="3" y="27"/>
                    </a:lnTo>
                    <a:lnTo>
                      <a:pt x="0" y="36"/>
                    </a:lnTo>
                    <a:lnTo>
                      <a:pt x="13" y="32"/>
                    </a:lnTo>
                    <a:lnTo>
                      <a:pt x="20" y="19"/>
                    </a:lnTo>
                    <a:lnTo>
                      <a:pt x="26" y="5"/>
                    </a:lnTo>
                    <a:lnTo>
                      <a:pt x="18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93" name="Freeform 130">
                <a:extLst>
                  <a:ext uri="{FF2B5EF4-FFF2-40B4-BE49-F238E27FC236}">
                    <a16:creationId xmlns:a16="http://schemas.microsoft.com/office/drawing/2014/main" id="{757D7E47-0A3C-461C-B57D-1C7F2A1B8F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0" y="2826"/>
                <a:ext cx="17" cy="17"/>
              </a:xfrm>
              <a:custGeom>
                <a:avLst/>
                <a:gdLst>
                  <a:gd name="T0" fmla="*/ 7 w 14"/>
                  <a:gd name="T1" fmla="*/ 14 h 15"/>
                  <a:gd name="T2" fmla="*/ 5 w 14"/>
                  <a:gd name="T3" fmla="*/ 14 h 15"/>
                  <a:gd name="T4" fmla="*/ 3 w 14"/>
                  <a:gd name="T5" fmla="*/ 14 h 15"/>
                  <a:gd name="T6" fmla="*/ 2 w 14"/>
                  <a:gd name="T7" fmla="*/ 14 h 15"/>
                  <a:gd name="T8" fmla="*/ 2 w 14"/>
                  <a:gd name="T9" fmla="*/ 12 h 15"/>
                  <a:gd name="T10" fmla="*/ 1 w 14"/>
                  <a:gd name="T11" fmla="*/ 11 h 15"/>
                  <a:gd name="T12" fmla="*/ 0 w 14"/>
                  <a:gd name="T13" fmla="*/ 11 h 15"/>
                  <a:gd name="T14" fmla="*/ 0 w 14"/>
                  <a:gd name="T15" fmla="*/ 10 h 15"/>
                  <a:gd name="T16" fmla="*/ 0 w 14"/>
                  <a:gd name="T17" fmla="*/ 9 h 15"/>
                  <a:gd name="T18" fmla="*/ 0 w 14"/>
                  <a:gd name="T19" fmla="*/ 7 h 15"/>
                  <a:gd name="T20" fmla="*/ 0 w 14"/>
                  <a:gd name="T21" fmla="*/ 5 h 15"/>
                  <a:gd name="T22" fmla="*/ 0 w 14"/>
                  <a:gd name="T23" fmla="*/ 4 h 15"/>
                  <a:gd name="T24" fmla="*/ 1 w 14"/>
                  <a:gd name="T25" fmla="*/ 3 h 15"/>
                  <a:gd name="T26" fmla="*/ 2 w 14"/>
                  <a:gd name="T27" fmla="*/ 2 h 15"/>
                  <a:gd name="T28" fmla="*/ 2 w 14"/>
                  <a:gd name="T29" fmla="*/ 1 h 15"/>
                  <a:gd name="T30" fmla="*/ 3 w 14"/>
                  <a:gd name="T31" fmla="*/ 1 h 15"/>
                  <a:gd name="T32" fmla="*/ 5 w 14"/>
                  <a:gd name="T33" fmla="*/ 1 h 15"/>
                  <a:gd name="T34" fmla="*/ 7 w 14"/>
                  <a:gd name="T35" fmla="*/ 0 h 15"/>
                  <a:gd name="T36" fmla="*/ 7 w 14"/>
                  <a:gd name="T37" fmla="*/ 1 h 15"/>
                  <a:gd name="T38" fmla="*/ 9 w 14"/>
                  <a:gd name="T39" fmla="*/ 1 h 15"/>
                  <a:gd name="T40" fmla="*/ 10 w 14"/>
                  <a:gd name="T41" fmla="*/ 1 h 15"/>
                  <a:gd name="T42" fmla="*/ 10 w 14"/>
                  <a:gd name="T43" fmla="*/ 2 h 15"/>
                  <a:gd name="T44" fmla="*/ 11 w 14"/>
                  <a:gd name="T45" fmla="*/ 3 h 15"/>
                  <a:gd name="T46" fmla="*/ 11 w 14"/>
                  <a:gd name="T47" fmla="*/ 4 h 15"/>
                  <a:gd name="T48" fmla="*/ 11 w 14"/>
                  <a:gd name="T49" fmla="*/ 5 h 15"/>
                  <a:gd name="T50" fmla="*/ 13 w 14"/>
                  <a:gd name="T51" fmla="*/ 7 h 15"/>
                  <a:gd name="T52" fmla="*/ 11 w 14"/>
                  <a:gd name="T53" fmla="*/ 9 h 15"/>
                  <a:gd name="T54" fmla="*/ 11 w 14"/>
                  <a:gd name="T55" fmla="*/ 10 h 15"/>
                  <a:gd name="T56" fmla="*/ 11 w 14"/>
                  <a:gd name="T57" fmla="*/ 11 h 15"/>
                  <a:gd name="T58" fmla="*/ 10 w 14"/>
                  <a:gd name="T59" fmla="*/ 12 h 15"/>
                  <a:gd name="T60" fmla="*/ 10 w 14"/>
                  <a:gd name="T61" fmla="*/ 14 h 15"/>
                  <a:gd name="T62" fmla="*/ 9 w 14"/>
                  <a:gd name="T63" fmla="*/ 14 h 15"/>
                  <a:gd name="T64" fmla="*/ 7 w 14"/>
                  <a:gd name="T65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" h="15">
                    <a:moveTo>
                      <a:pt x="7" y="14"/>
                    </a:moveTo>
                    <a:lnTo>
                      <a:pt x="5" y="14"/>
                    </a:lnTo>
                    <a:lnTo>
                      <a:pt x="3" y="14"/>
                    </a:lnTo>
                    <a:lnTo>
                      <a:pt x="2" y="14"/>
                    </a:lnTo>
                    <a:lnTo>
                      <a:pt x="2" y="12"/>
                    </a:lnTo>
                    <a:lnTo>
                      <a:pt x="1" y="11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7" y="1"/>
                    </a:lnTo>
                    <a:lnTo>
                      <a:pt x="9" y="1"/>
                    </a:lnTo>
                    <a:lnTo>
                      <a:pt x="10" y="1"/>
                    </a:lnTo>
                    <a:lnTo>
                      <a:pt x="10" y="2"/>
                    </a:lnTo>
                    <a:lnTo>
                      <a:pt x="11" y="3"/>
                    </a:lnTo>
                    <a:lnTo>
                      <a:pt x="11" y="4"/>
                    </a:lnTo>
                    <a:lnTo>
                      <a:pt x="11" y="5"/>
                    </a:lnTo>
                    <a:lnTo>
                      <a:pt x="13" y="7"/>
                    </a:lnTo>
                    <a:lnTo>
                      <a:pt x="11" y="9"/>
                    </a:lnTo>
                    <a:lnTo>
                      <a:pt x="11" y="10"/>
                    </a:lnTo>
                    <a:lnTo>
                      <a:pt x="11" y="11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9" y="14"/>
                    </a:lnTo>
                    <a:lnTo>
                      <a:pt x="7" y="1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94" name="Freeform 131">
                <a:extLst>
                  <a:ext uri="{FF2B5EF4-FFF2-40B4-BE49-F238E27FC236}">
                    <a16:creationId xmlns:a16="http://schemas.microsoft.com/office/drawing/2014/main" id="{6401C063-9186-485A-A3DA-8D0225A8AC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8" y="3310"/>
                <a:ext cx="122" cy="140"/>
              </a:xfrm>
              <a:custGeom>
                <a:avLst/>
                <a:gdLst>
                  <a:gd name="T0" fmla="*/ 65 w 108"/>
                  <a:gd name="T1" fmla="*/ 0 h 125"/>
                  <a:gd name="T2" fmla="*/ 59 w 108"/>
                  <a:gd name="T3" fmla="*/ 7 h 125"/>
                  <a:gd name="T4" fmla="*/ 47 w 108"/>
                  <a:gd name="T5" fmla="*/ 9 h 125"/>
                  <a:gd name="T6" fmla="*/ 45 w 108"/>
                  <a:gd name="T7" fmla="*/ 20 h 125"/>
                  <a:gd name="T8" fmla="*/ 40 w 108"/>
                  <a:gd name="T9" fmla="*/ 23 h 125"/>
                  <a:gd name="T10" fmla="*/ 32 w 108"/>
                  <a:gd name="T11" fmla="*/ 25 h 125"/>
                  <a:gd name="T12" fmla="*/ 30 w 108"/>
                  <a:gd name="T13" fmla="*/ 36 h 125"/>
                  <a:gd name="T14" fmla="*/ 22 w 108"/>
                  <a:gd name="T15" fmla="*/ 39 h 125"/>
                  <a:gd name="T16" fmla="*/ 8 w 108"/>
                  <a:gd name="T17" fmla="*/ 39 h 125"/>
                  <a:gd name="T18" fmla="*/ 0 w 108"/>
                  <a:gd name="T19" fmla="*/ 42 h 125"/>
                  <a:gd name="T20" fmla="*/ 6 w 108"/>
                  <a:gd name="T21" fmla="*/ 64 h 125"/>
                  <a:gd name="T22" fmla="*/ 8 w 108"/>
                  <a:gd name="T23" fmla="*/ 75 h 125"/>
                  <a:gd name="T24" fmla="*/ 15 w 108"/>
                  <a:gd name="T25" fmla="*/ 79 h 125"/>
                  <a:gd name="T26" fmla="*/ 19 w 108"/>
                  <a:gd name="T27" fmla="*/ 91 h 125"/>
                  <a:gd name="T28" fmla="*/ 27 w 108"/>
                  <a:gd name="T29" fmla="*/ 92 h 125"/>
                  <a:gd name="T30" fmla="*/ 31 w 108"/>
                  <a:gd name="T31" fmla="*/ 107 h 125"/>
                  <a:gd name="T32" fmla="*/ 37 w 108"/>
                  <a:gd name="T33" fmla="*/ 109 h 125"/>
                  <a:gd name="T34" fmla="*/ 52 w 108"/>
                  <a:gd name="T35" fmla="*/ 115 h 125"/>
                  <a:gd name="T36" fmla="*/ 62 w 108"/>
                  <a:gd name="T37" fmla="*/ 119 h 125"/>
                  <a:gd name="T38" fmla="*/ 66 w 108"/>
                  <a:gd name="T39" fmla="*/ 124 h 125"/>
                  <a:gd name="T40" fmla="*/ 82 w 108"/>
                  <a:gd name="T41" fmla="*/ 124 h 125"/>
                  <a:gd name="T42" fmla="*/ 85 w 108"/>
                  <a:gd name="T43" fmla="*/ 113 h 125"/>
                  <a:gd name="T44" fmla="*/ 93 w 108"/>
                  <a:gd name="T45" fmla="*/ 108 h 125"/>
                  <a:gd name="T46" fmla="*/ 92 w 108"/>
                  <a:gd name="T47" fmla="*/ 87 h 125"/>
                  <a:gd name="T48" fmla="*/ 102 w 108"/>
                  <a:gd name="T49" fmla="*/ 82 h 125"/>
                  <a:gd name="T50" fmla="*/ 107 w 108"/>
                  <a:gd name="T51" fmla="*/ 75 h 125"/>
                  <a:gd name="T52" fmla="*/ 101 w 108"/>
                  <a:gd name="T53" fmla="*/ 61 h 125"/>
                  <a:gd name="T54" fmla="*/ 100 w 108"/>
                  <a:gd name="T55" fmla="*/ 51 h 125"/>
                  <a:gd name="T56" fmla="*/ 105 w 108"/>
                  <a:gd name="T57" fmla="*/ 31 h 125"/>
                  <a:gd name="T58" fmla="*/ 98 w 108"/>
                  <a:gd name="T59" fmla="*/ 16 h 125"/>
                  <a:gd name="T60" fmla="*/ 77 w 108"/>
                  <a:gd name="T61" fmla="*/ 13 h 125"/>
                  <a:gd name="T62" fmla="*/ 70 w 108"/>
                  <a:gd name="T63" fmla="*/ 1 h 125"/>
                  <a:gd name="T64" fmla="*/ 65 w 108"/>
                  <a:gd name="T65" fmla="*/ 0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8" h="125">
                    <a:moveTo>
                      <a:pt x="65" y="0"/>
                    </a:moveTo>
                    <a:lnTo>
                      <a:pt x="59" y="7"/>
                    </a:lnTo>
                    <a:lnTo>
                      <a:pt x="47" y="9"/>
                    </a:lnTo>
                    <a:lnTo>
                      <a:pt x="45" y="20"/>
                    </a:lnTo>
                    <a:lnTo>
                      <a:pt x="40" y="23"/>
                    </a:lnTo>
                    <a:lnTo>
                      <a:pt x="32" y="25"/>
                    </a:lnTo>
                    <a:lnTo>
                      <a:pt x="30" y="36"/>
                    </a:lnTo>
                    <a:lnTo>
                      <a:pt x="22" y="39"/>
                    </a:lnTo>
                    <a:lnTo>
                      <a:pt x="8" y="39"/>
                    </a:lnTo>
                    <a:lnTo>
                      <a:pt x="0" y="42"/>
                    </a:lnTo>
                    <a:lnTo>
                      <a:pt x="6" y="64"/>
                    </a:lnTo>
                    <a:lnTo>
                      <a:pt x="8" y="75"/>
                    </a:lnTo>
                    <a:lnTo>
                      <a:pt x="15" y="79"/>
                    </a:lnTo>
                    <a:lnTo>
                      <a:pt x="19" y="91"/>
                    </a:lnTo>
                    <a:lnTo>
                      <a:pt x="27" y="92"/>
                    </a:lnTo>
                    <a:lnTo>
                      <a:pt x="31" y="107"/>
                    </a:lnTo>
                    <a:lnTo>
                      <a:pt x="37" y="109"/>
                    </a:lnTo>
                    <a:lnTo>
                      <a:pt x="52" y="115"/>
                    </a:lnTo>
                    <a:lnTo>
                      <a:pt x="62" y="119"/>
                    </a:lnTo>
                    <a:lnTo>
                      <a:pt x="66" y="124"/>
                    </a:lnTo>
                    <a:lnTo>
                      <a:pt x="82" y="124"/>
                    </a:lnTo>
                    <a:lnTo>
                      <a:pt x="85" y="113"/>
                    </a:lnTo>
                    <a:lnTo>
                      <a:pt x="93" y="108"/>
                    </a:lnTo>
                    <a:lnTo>
                      <a:pt x="92" y="87"/>
                    </a:lnTo>
                    <a:lnTo>
                      <a:pt x="102" y="82"/>
                    </a:lnTo>
                    <a:lnTo>
                      <a:pt x="107" y="75"/>
                    </a:lnTo>
                    <a:lnTo>
                      <a:pt x="101" y="61"/>
                    </a:lnTo>
                    <a:lnTo>
                      <a:pt x="100" y="51"/>
                    </a:lnTo>
                    <a:lnTo>
                      <a:pt x="105" y="31"/>
                    </a:lnTo>
                    <a:lnTo>
                      <a:pt x="98" y="16"/>
                    </a:lnTo>
                    <a:lnTo>
                      <a:pt x="77" y="13"/>
                    </a:lnTo>
                    <a:lnTo>
                      <a:pt x="70" y="1"/>
                    </a:lnTo>
                    <a:lnTo>
                      <a:pt x="65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95" name="Freeform 132">
                <a:extLst>
                  <a:ext uri="{FF2B5EF4-FFF2-40B4-BE49-F238E27FC236}">
                    <a16:creationId xmlns:a16="http://schemas.microsoft.com/office/drawing/2014/main" id="{10FA29EA-6991-4AF3-A9A0-6EEEE767C3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0" y="3336"/>
                <a:ext cx="159" cy="238"/>
              </a:xfrm>
              <a:custGeom>
                <a:avLst/>
                <a:gdLst>
                  <a:gd name="T0" fmla="*/ 1 w 141"/>
                  <a:gd name="T1" fmla="*/ 6 h 212"/>
                  <a:gd name="T2" fmla="*/ 15 w 141"/>
                  <a:gd name="T3" fmla="*/ 0 h 212"/>
                  <a:gd name="T4" fmla="*/ 31 w 141"/>
                  <a:gd name="T5" fmla="*/ 7 h 212"/>
                  <a:gd name="T6" fmla="*/ 56 w 141"/>
                  <a:gd name="T7" fmla="*/ 9 h 212"/>
                  <a:gd name="T8" fmla="*/ 93 w 141"/>
                  <a:gd name="T9" fmla="*/ 8 h 212"/>
                  <a:gd name="T10" fmla="*/ 98 w 141"/>
                  <a:gd name="T11" fmla="*/ 16 h 212"/>
                  <a:gd name="T12" fmla="*/ 129 w 141"/>
                  <a:gd name="T13" fmla="*/ 20 h 212"/>
                  <a:gd name="T14" fmla="*/ 140 w 141"/>
                  <a:gd name="T15" fmla="*/ 22 h 212"/>
                  <a:gd name="T16" fmla="*/ 133 w 141"/>
                  <a:gd name="T17" fmla="*/ 35 h 212"/>
                  <a:gd name="T18" fmla="*/ 132 w 141"/>
                  <a:gd name="T19" fmla="*/ 87 h 212"/>
                  <a:gd name="T20" fmla="*/ 126 w 141"/>
                  <a:gd name="T21" fmla="*/ 91 h 212"/>
                  <a:gd name="T22" fmla="*/ 118 w 141"/>
                  <a:gd name="T23" fmla="*/ 95 h 212"/>
                  <a:gd name="T24" fmla="*/ 119 w 141"/>
                  <a:gd name="T25" fmla="*/ 146 h 212"/>
                  <a:gd name="T26" fmla="*/ 115 w 141"/>
                  <a:gd name="T27" fmla="*/ 202 h 212"/>
                  <a:gd name="T28" fmla="*/ 107 w 141"/>
                  <a:gd name="T29" fmla="*/ 211 h 212"/>
                  <a:gd name="T30" fmla="*/ 87 w 141"/>
                  <a:gd name="T31" fmla="*/ 208 h 212"/>
                  <a:gd name="T32" fmla="*/ 81 w 141"/>
                  <a:gd name="T33" fmla="*/ 197 h 212"/>
                  <a:gd name="T34" fmla="*/ 77 w 141"/>
                  <a:gd name="T35" fmla="*/ 202 h 212"/>
                  <a:gd name="T36" fmla="*/ 67 w 141"/>
                  <a:gd name="T37" fmla="*/ 203 h 212"/>
                  <a:gd name="T38" fmla="*/ 63 w 141"/>
                  <a:gd name="T39" fmla="*/ 190 h 212"/>
                  <a:gd name="T40" fmla="*/ 55 w 141"/>
                  <a:gd name="T41" fmla="*/ 181 h 212"/>
                  <a:gd name="T42" fmla="*/ 45 w 141"/>
                  <a:gd name="T43" fmla="*/ 179 h 212"/>
                  <a:gd name="T44" fmla="*/ 46 w 141"/>
                  <a:gd name="T45" fmla="*/ 160 h 212"/>
                  <a:gd name="T46" fmla="*/ 42 w 141"/>
                  <a:gd name="T47" fmla="*/ 138 h 212"/>
                  <a:gd name="T48" fmla="*/ 41 w 141"/>
                  <a:gd name="T49" fmla="*/ 123 h 212"/>
                  <a:gd name="T50" fmla="*/ 40 w 141"/>
                  <a:gd name="T51" fmla="*/ 103 h 212"/>
                  <a:gd name="T52" fmla="*/ 35 w 141"/>
                  <a:gd name="T53" fmla="*/ 89 h 212"/>
                  <a:gd name="T54" fmla="*/ 30 w 141"/>
                  <a:gd name="T55" fmla="*/ 78 h 212"/>
                  <a:gd name="T56" fmla="*/ 25 w 141"/>
                  <a:gd name="T57" fmla="*/ 68 h 212"/>
                  <a:gd name="T58" fmla="*/ 16 w 141"/>
                  <a:gd name="T59" fmla="*/ 50 h 212"/>
                  <a:gd name="T60" fmla="*/ 11 w 141"/>
                  <a:gd name="T61" fmla="*/ 40 h 212"/>
                  <a:gd name="T62" fmla="*/ 0 w 141"/>
                  <a:gd name="T63" fmla="*/ 25 h 212"/>
                  <a:gd name="T64" fmla="*/ 1 w 141"/>
                  <a:gd name="T65" fmla="*/ 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1" h="212">
                    <a:moveTo>
                      <a:pt x="1" y="6"/>
                    </a:moveTo>
                    <a:lnTo>
                      <a:pt x="15" y="0"/>
                    </a:lnTo>
                    <a:lnTo>
                      <a:pt x="31" y="7"/>
                    </a:lnTo>
                    <a:lnTo>
                      <a:pt x="56" y="9"/>
                    </a:lnTo>
                    <a:lnTo>
                      <a:pt x="93" y="8"/>
                    </a:lnTo>
                    <a:lnTo>
                      <a:pt x="98" y="16"/>
                    </a:lnTo>
                    <a:lnTo>
                      <a:pt x="129" y="20"/>
                    </a:lnTo>
                    <a:lnTo>
                      <a:pt x="140" y="22"/>
                    </a:lnTo>
                    <a:lnTo>
                      <a:pt x="133" y="35"/>
                    </a:lnTo>
                    <a:lnTo>
                      <a:pt x="132" y="87"/>
                    </a:lnTo>
                    <a:lnTo>
                      <a:pt x="126" y="91"/>
                    </a:lnTo>
                    <a:lnTo>
                      <a:pt x="118" y="95"/>
                    </a:lnTo>
                    <a:lnTo>
                      <a:pt x="119" y="146"/>
                    </a:lnTo>
                    <a:lnTo>
                      <a:pt x="115" y="202"/>
                    </a:lnTo>
                    <a:lnTo>
                      <a:pt x="107" y="211"/>
                    </a:lnTo>
                    <a:lnTo>
                      <a:pt x="87" y="208"/>
                    </a:lnTo>
                    <a:lnTo>
                      <a:pt x="81" y="197"/>
                    </a:lnTo>
                    <a:lnTo>
                      <a:pt x="77" y="202"/>
                    </a:lnTo>
                    <a:lnTo>
                      <a:pt x="67" y="203"/>
                    </a:lnTo>
                    <a:lnTo>
                      <a:pt x="63" y="190"/>
                    </a:lnTo>
                    <a:lnTo>
                      <a:pt x="55" y="181"/>
                    </a:lnTo>
                    <a:lnTo>
                      <a:pt x="45" y="179"/>
                    </a:lnTo>
                    <a:lnTo>
                      <a:pt x="46" y="160"/>
                    </a:lnTo>
                    <a:lnTo>
                      <a:pt x="42" y="138"/>
                    </a:lnTo>
                    <a:lnTo>
                      <a:pt x="41" y="123"/>
                    </a:lnTo>
                    <a:lnTo>
                      <a:pt x="40" y="103"/>
                    </a:lnTo>
                    <a:lnTo>
                      <a:pt x="35" y="89"/>
                    </a:lnTo>
                    <a:lnTo>
                      <a:pt x="30" y="78"/>
                    </a:lnTo>
                    <a:lnTo>
                      <a:pt x="25" y="68"/>
                    </a:lnTo>
                    <a:lnTo>
                      <a:pt x="16" y="50"/>
                    </a:lnTo>
                    <a:lnTo>
                      <a:pt x="11" y="40"/>
                    </a:lnTo>
                    <a:lnTo>
                      <a:pt x="0" y="25"/>
                    </a:lnTo>
                    <a:lnTo>
                      <a:pt x="1" y="6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96" name="Freeform 133">
                <a:extLst>
                  <a:ext uri="{FF2B5EF4-FFF2-40B4-BE49-F238E27FC236}">
                    <a16:creationId xmlns:a16="http://schemas.microsoft.com/office/drawing/2014/main" id="{D6FF7153-1D89-42E2-9F8F-2FEFEA458E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" y="3240"/>
                <a:ext cx="130" cy="268"/>
              </a:xfrm>
              <a:custGeom>
                <a:avLst/>
                <a:gdLst>
                  <a:gd name="T0" fmla="*/ 88 w 116"/>
                  <a:gd name="T1" fmla="*/ 3 h 238"/>
                  <a:gd name="T2" fmla="*/ 87 w 116"/>
                  <a:gd name="T3" fmla="*/ 23 h 238"/>
                  <a:gd name="T4" fmla="*/ 81 w 116"/>
                  <a:gd name="T5" fmla="*/ 26 h 238"/>
                  <a:gd name="T6" fmla="*/ 79 w 116"/>
                  <a:gd name="T7" fmla="*/ 41 h 238"/>
                  <a:gd name="T8" fmla="*/ 70 w 116"/>
                  <a:gd name="T9" fmla="*/ 41 h 238"/>
                  <a:gd name="T10" fmla="*/ 66 w 116"/>
                  <a:gd name="T11" fmla="*/ 47 h 238"/>
                  <a:gd name="T12" fmla="*/ 64 w 116"/>
                  <a:gd name="T13" fmla="*/ 55 h 238"/>
                  <a:gd name="T14" fmla="*/ 56 w 116"/>
                  <a:gd name="T15" fmla="*/ 62 h 238"/>
                  <a:gd name="T16" fmla="*/ 53 w 116"/>
                  <a:gd name="T17" fmla="*/ 70 h 238"/>
                  <a:gd name="T18" fmla="*/ 48 w 116"/>
                  <a:gd name="T19" fmla="*/ 69 h 238"/>
                  <a:gd name="T20" fmla="*/ 46 w 116"/>
                  <a:gd name="T21" fmla="*/ 61 h 238"/>
                  <a:gd name="T22" fmla="*/ 37 w 116"/>
                  <a:gd name="T23" fmla="*/ 61 h 238"/>
                  <a:gd name="T24" fmla="*/ 35 w 116"/>
                  <a:gd name="T25" fmla="*/ 67 h 238"/>
                  <a:gd name="T26" fmla="*/ 26 w 116"/>
                  <a:gd name="T27" fmla="*/ 71 h 238"/>
                  <a:gd name="T28" fmla="*/ 23 w 116"/>
                  <a:gd name="T29" fmla="*/ 84 h 238"/>
                  <a:gd name="T30" fmla="*/ 17 w 116"/>
                  <a:gd name="T31" fmla="*/ 85 h 238"/>
                  <a:gd name="T32" fmla="*/ 20 w 116"/>
                  <a:gd name="T33" fmla="*/ 127 h 238"/>
                  <a:gd name="T34" fmla="*/ 24 w 116"/>
                  <a:gd name="T35" fmla="*/ 128 h 238"/>
                  <a:gd name="T36" fmla="*/ 26 w 116"/>
                  <a:gd name="T37" fmla="*/ 139 h 238"/>
                  <a:gd name="T38" fmla="*/ 20 w 116"/>
                  <a:gd name="T39" fmla="*/ 143 h 238"/>
                  <a:gd name="T40" fmla="*/ 17 w 116"/>
                  <a:gd name="T41" fmla="*/ 157 h 238"/>
                  <a:gd name="T42" fmla="*/ 10 w 116"/>
                  <a:gd name="T43" fmla="*/ 160 h 238"/>
                  <a:gd name="T44" fmla="*/ 9 w 116"/>
                  <a:gd name="T45" fmla="*/ 167 h 238"/>
                  <a:gd name="T46" fmla="*/ 0 w 116"/>
                  <a:gd name="T47" fmla="*/ 170 h 238"/>
                  <a:gd name="T48" fmla="*/ 1 w 116"/>
                  <a:gd name="T49" fmla="*/ 189 h 238"/>
                  <a:gd name="T50" fmla="*/ 11 w 116"/>
                  <a:gd name="T51" fmla="*/ 189 h 238"/>
                  <a:gd name="T52" fmla="*/ 11 w 116"/>
                  <a:gd name="T53" fmla="*/ 228 h 238"/>
                  <a:gd name="T54" fmla="*/ 20 w 116"/>
                  <a:gd name="T55" fmla="*/ 228 h 238"/>
                  <a:gd name="T56" fmla="*/ 26 w 116"/>
                  <a:gd name="T57" fmla="*/ 234 h 238"/>
                  <a:gd name="T58" fmla="*/ 33 w 116"/>
                  <a:gd name="T59" fmla="*/ 237 h 238"/>
                  <a:gd name="T60" fmla="*/ 42 w 116"/>
                  <a:gd name="T61" fmla="*/ 228 h 238"/>
                  <a:gd name="T62" fmla="*/ 52 w 116"/>
                  <a:gd name="T63" fmla="*/ 227 h 238"/>
                  <a:gd name="T64" fmla="*/ 59 w 116"/>
                  <a:gd name="T65" fmla="*/ 222 h 238"/>
                  <a:gd name="T66" fmla="*/ 66 w 116"/>
                  <a:gd name="T67" fmla="*/ 217 h 238"/>
                  <a:gd name="T68" fmla="*/ 70 w 116"/>
                  <a:gd name="T69" fmla="*/ 198 h 238"/>
                  <a:gd name="T70" fmla="*/ 78 w 116"/>
                  <a:gd name="T71" fmla="*/ 195 h 238"/>
                  <a:gd name="T72" fmla="*/ 78 w 116"/>
                  <a:gd name="T73" fmla="*/ 170 h 238"/>
                  <a:gd name="T74" fmla="*/ 83 w 116"/>
                  <a:gd name="T75" fmla="*/ 167 h 238"/>
                  <a:gd name="T76" fmla="*/ 82 w 116"/>
                  <a:gd name="T77" fmla="*/ 132 h 238"/>
                  <a:gd name="T78" fmla="*/ 92 w 116"/>
                  <a:gd name="T79" fmla="*/ 125 h 238"/>
                  <a:gd name="T80" fmla="*/ 98 w 116"/>
                  <a:gd name="T81" fmla="*/ 119 h 238"/>
                  <a:gd name="T82" fmla="*/ 98 w 116"/>
                  <a:gd name="T83" fmla="*/ 91 h 238"/>
                  <a:gd name="T84" fmla="*/ 106 w 116"/>
                  <a:gd name="T85" fmla="*/ 86 h 238"/>
                  <a:gd name="T86" fmla="*/ 107 w 116"/>
                  <a:gd name="T87" fmla="*/ 64 h 238"/>
                  <a:gd name="T88" fmla="*/ 114 w 116"/>
                  <a:gd name="T89" fmla="*/ 64 h 238"/>
                  <a:gd name="T90" fmla="*/ 115 w 116"/>
                  <a:gd name="T91" fmla="*/ 28 h 238"/>
                  <a:gd name="T92" fmla="*/ 106 w 116"/>
                  <a:gd name="T93" fmla="*/ 23 h 238"/>
                  <a:gd name="T94" fmla="*/ 105 w 116"/>
                  <a:gd name="T95" fmla="*/ 6 h 238"/>
                  <a:gd name="T96" fmla="*/ 96 w 116"/>
                  <a:gd name="T97" fmla="*/ 0 h 238"/>
                  <a:gd name="T98" fmla="*/ 88 w 116"/>
                  <a:gd name="T99" fmla="*/ 3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6" h="238">
                    <a:moveTo>
                      <a:pt x="88" y="3"/>
                    </a:moveTo>
                    <a:lnTo>
                      <a:pt x="87" y="23"/>
                    </a:lnTo>
                    <a:lnTo>
                      <a:pt x="81" y="26"/>
                    </a:lnTo>
                    <a:lnTo>
                      <a:pt x="79" y="41"/>
                    </a:lnTo>
                    <a:lnTo>
                      <a:pt x="70" y="41"/>
                    </a:lnTo>
                    <a:lnTo>
                      <a:pt x="66" y="47"/>
                    </a:lnTo>
                    <a:lnTo>
                      <a:pt x="64" y="55"/>
                    </a:lnTo>
                    <a:lnTo>
                      <a:pt x="56" y="62"/>
                    </a:lnTo>
                    <a:lnTo>
                      <a:pt x="53" y="70"/>
                    </a:lnTo>
                    <a:lnTo>
                      <a:pt x="48" y="69"/>
                    </a:lnTo>
                    <a:lnTo>
                      <a:pt x="46" y="61"/>
                    </a:lnTo>
                    <a:lnTo>
                      <a:pt x="37" y="61"/>
                    </a:lnTo>
                    <a:lnTo>
                      <a:pt x="35" y="67"/>
                    </a:lnTo>
                    <a:lnTo>
                      <a:pt x="26" y="71"/>
                    </a:lnTo>
                    <a:lnTo>
                      <a:pt x="23" y="84"/>
                    </a:lnTo>
                    <a:lnTo>
                      <a:pt x="17" y="85"/>
                    </a:lnTo>
                    <a:lnTo>
                      <a:pt x="20" y="127"/>
                    </a:lnTo>
                    <a:lnTo>
                      <a:pt x="24" y="128"/>
                    </a:lnTo>
                    <a:lnTo>
                      <a:pt x="26" y="139"/>
                    </a:lnTo>
                    <a:lnTo>
                      <a:pt x="20" y="143"/>
                    </a:lnTo>
                    <a:lnTo>
                      <a:pt x="17" y="157"/>
                    </a:lnTo>
                    <a:lnTo>
                      <a:pt x="10" y="160"/>
                    </a:lnTo>
                    <a:lnTo>
                      <a:pt x="9" y="167"/>
                    </a:lnTo>
                    <a:lnTo>
                      <a:pt x="0" y="170"/>
                    </a:lnTo>
                    <a:lnTo>
                      <a:pt x="1" y="189"/>
                    </a:lnTo>
                    <a:lnTo>
                      <a:pt x="11" y="189"/>
                    </a:lnTo>
                    <a:lnTo>
                      <a:pt x="11" y="228"/>
                    </a:lnTo>
                    <a:lnTo>
                      <a:pt x="20" y="228"/>
                    </a:lnTo>
                    <a:lnTo>
                      <a:pt x="26" y="234"/>
                    </a:lnTo>
                    <a:lnTo>
                      <a:pt x="33" y="237"/>
                    </a:lnTo>
                    <a:lnTo>
                      <a:pt x="42" y="228"/>
                    </a:lnTo>
                    <a:lnTo>
                      <a:pt x="52" y="227"/>
                    </a:lnTo>
                    <a:lnTo>
                      <a:pt x="59" y="222"/>
                    </a:lnTo>
                    <a:lnTo>
                      <a:pt x="66" y="217"/>
                    </a:lnTo>
                    <a:lnTo>
                      <a:pt x="70" y="198"/>
                    </a:lnTo>
                    <a:lnTo>
                      <a:pt x="78" y="195"/>
                    </a:lnTo>
                    <a:lnTo>
                      <a:pt x="78" y="170"/>
                    </a:lnTo>
                    <a:lnTo>
                      <a:pt x="83" y="167"/>
                    </a:lnTo>
                    <a:lnTo>
                      <a:pt x="82" y="132"/>
                    </a:lnTo>
                    <a:lnTo>
                      <a:pt x="92" y="125"/>
                    </a:lnTo>
                    <a:lnTo>
                      <a:pt x="98" y="119"/>
                    </a:lnTo>
                    <a:lnTo>
                      <a:pt x="98" y="91"/>
                    </a:lnTo>
                    <a:lnTo>
                      <a:pt x="106" y="86"/>
                    </a:lnTo>
                    <a:lnTo>
                      <a:pt x="107" y="64"/>
                    </a:lnTo>
                    <a:lnTo>
                      <a:pt x="114" y="64"/>
                    </a:lnTo>
                    <a:lnTo>
                      <a:pt x="115" y="28"/>
                    </a:lnTo>
                    <a:lnTo>
                      <a:pt x="106" y="23"/>
                    </a:lnTo>
                    <a:lnTo>
                      <a:pt x="105" y="6"/>
                    </a:lnTo>
                    <a:lnTo>
                      <a:pt x="96" y="0"/>
                    </a:lnTo>
                    <a:lnTo>
                      <a:pt x="88" y="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97" name="Freeform 134">
                <a:extLst>
                  <a:ext uri="{FF2B5EF4-FFF2-40B4-BE49-F238E27FC236}">
                    <a16:creationId xmlns:a16="http://schemas.microsoft.com/office/drawing/2014/main" id="{B82F4703-DCF7-425F-8EF9-919909C931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2" y="3353"/>
                <a:ext cx="155" cy="178"/>
              </a:xfrm>
              <a:custGeom>
                <a:avLst/>
                <a:gdLst>
                  <a:gd name="T0" fmla="*/ 47 w 139"/>
                  <a:gd name="T1" fmla="*/ 3 h 159"/>
                  <a:gd name="T2" fmla="*/ 86 w 139"/>
                  <a:gd name="T3" fmla="*/ 4 h 159"/>
                  <a:gd name="T4" fmla="*/ 92 w 139"/>
                  <a:gd name="T5" fmla="*/ 26 h 159"/>
                  <a:gd name="T6" fmla="*/ 93 w 139"/>
                  <a:gd name="T7" fmla="*/ 37 h 159"/>
                  <a:gd name="T8" fmla="*/ 101 w 139"/>
                  <a:gd name="T9" fmla="*/ 42 h 159"/>
                  <a:gd name="T10" fmla="*/ 105 w 139"/>
                  <a:gd name="T11" fmla="*/ 54 h 159"/>
                  <a:gd name="T12" fmla="*/ 113 w 139"/>
                  <a:gd name="T13" fmla="*/ 54 h 159"/>
                  <a:gd name="T14" fmla="*/ 117 w 139"/>
                  <a:gd name="T15" fmla="*/ 70 h 159"/>
                  <a:gd name="T16" fmla="*/ 123 w 139"/>
                  <a:gd name="T17" fmla="*/ 71 h 159"/>
                  <a:gd name="T18" fmla="*/ 138 w 139"/>
                  <a:gd name="T19" fmla="*/ 77 h 159"/>
                  <a:gd name="T20" fmla="*/ 135 w 139"/>
                  <a:gd name="T21" fmla="*/ 86 h 159"/>
                  <a:gd name="T22" fmla="*/ 126 w 139"/>
                  <a:gd name="T23" fmla="*/ 93 h 159"/>
                  <a:gd name="T24" fmla="*/ 117 w 139"/>
                  <a:gd name="T25" fmla="*/ 102 h 159"/>
                  <a:gd name="T26" fmla="*/ 106 w 139"/>
                  <a:gd name="T27" fmla="*/ 107 h 159"/>
                  <a:gd name="T28" fmla="*/ 102 w 139"/>
                  <a:gd name="T29" fmla="*/ 121 h 159"/>
                  <a:gd name="T30" fmla="*/ 93 w 139"/>
                  <a:gd name="T31" fmla="*/ 124 h 159"/>
                  <a:gd name="T32" fmla="*/ 87 w 139"/>
                  <a:gd name="T33" fmla="*/ 133 h 159"/>
                  <a:gd name="T34" fmla="*/ 78 w 139"/>
                  <a:gd name="T35" fmla="*/ 142 h 159"/>
                  <a:gd name="T36" fmla="*/ 64 w 139"/>
                  <a:gd name="T37" fmla="*/ 142 h 159"/>
                  <a:gd name="T38" fmla="*/ 55 w 139"/>
                  <a:gd name="T39" fmla="*/ 136 h 159"/>
                  <a:gd name="T40" fmla="*/ 46 w 139"/>
                  <a:gd name="T41" fmla="*/ 136 h 159"/>
                  <a:gd name="T42" fmla="*/ 41 w 139"/>
                  <a:gd name="T43" fmla="*/ 144 h 159"/>
                  <a:gd name="T44" fmla="*/ 38 w 139"/>
                  <a:gd name="T45" fmla="*/ 153 h 159"/>
                  <a:gd name="T46" fmla="*/ 30 w 139"/>
                  <a:gd name="T47" fmla="*/ 158 h 159"/>
                  <a:gd name="T48" fmla="*/ 10 w 139"/>
                  <a:gd name="T49" fmla="*/ 153 h 159"/>
                  <a:gd name="T50" fmla="*/ 6 w 139"/>
                  <a:gd name="T51" fmla="*/ 138 h 159"/>
                  <a:gd name="T52" fmla="*/ 1 w 139"/>
                  <a:gd name="T53" fmla="*/ 132 h 159"/>
                  <a:gd name="T54" fmla="*/ 0 w 139"/>
                  <a:gd name="T55" fmla="*/ 80 h 159"/>
                  <a:gd name="T56" fmla="*/ 8 w 139"/>
                  <a:gd name="T57" fmla="*/ 76 h 159"/>
                  <a:gd name="T58" fmla="*/ 15 w 139"/>
                  <a:gd name="T59" fmla="*/ 72 h 159"/>
                  <a:gd name="T60" fmla="*/ 15 w 139"/>
                  <a:gd name="T61" fmla="*/ 20 h 159"/>
                  <a:gd name="T62" fmla="*/ 22 w 139"/>
                  <a:gd name="T63" fmla="*/ 7 h 159"/>
                  <a:gd name="T64" fmla="*/ 40 w 139"/>
                  <a:gd name="T65" fmla="*/ 0 h 159"/>
                  <a:gd name="T66" fmla="*/ 47 w 139"/>
                  <a:gd name="T67" fmla="*/ 3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39" h="159">
                    <a:moveTo>
                      <a:pt x="47" y="3"/>
                    </a:moveTo>
                    <a:lnTo>
                      <a:pt x="86" y="4"/>
                    </a:lnTo>
                    <a:lnTo>
                      <a:pt x="92" y="26"/>
                    </a:lnTo>
                    <a:lnTo>
                      <a:pt x="93" y="37"/>
                    </a:lnTo>
                    <a:lnTo>
                      <a:pt x="101" y="42"/>
                    </a:lnTo>
                    <a:lnTo>
                      <a:pt x="105" y="54"/>
                    </a:lnTo>
                    <a:lnTo>
                      <a:pt x="113" y="54"/>
                    </a:lnTo>
                    <a:lnTo>
                      <a:pt x="117" y="70"/>
                    </a:lnTo>
                    <a:lnTo>
                      <a:pt x="123" y="71"/>
                    </a:lnTo>
                    <a:lnTo>
                      <a:pt x="138" y="77"/>
                    </a:lnTo>
                    <a:lnTo>
                      <a:pt x="135" y="86"/>
                    </a:lnTo>
                    <a:lnTo>
                      <a:pt x="126" y="93"/>
                    </a:lnTo>
                    <a:lnTo>
                      <a:pt x="117" y="102"/>
                    </a:lnTo>
                    <a:lnTo>
                      <a:pt x="106" y="107"/>
                    </a:lnTo>
                    <a:lnTo>
                      <a:pt x="102" y="121"/>
                    </a:lnTo>
                    <a:lnTo>
                      <a:pt x="93" y="124"/>
                    </a:lnTo>
                    <a:lnTo>
                      <a:pt x="87" y="133"/>
                    </a:lnTo>
                    <a:lnTo>
                      <a:pt x="78" y="142"/>
                    </a:lnTo>
                    <a:lnTo>
                      <a:pt x="64" y="142"/>
                    </a:lnTo>
                    <a:lnTo>
                      <a:pt x="55" y="136"/>
                    </a:lnTo>
                    <a:lnTo>
                      <a:pt x="46" y="136"/>
                    </a:lnTo>
                    <a:lnTo>
                      <a:pt x="41" y="144"/>
                    </a:lnTo>
                    <a:lnTo>
                      <a:pt x="38" y="153"/>
                    </a:lnTo>
                    <a:lnTo>
                      <a:pt x="30" y="158"/>
                    </a:lnTo>
                    <a:lnTo>
                      <a:pt x="10" y="153"/>
                    </a:lnTo>
                    <a:lnTo>
                      <a:pt x="6" y="138"/>
                    </a:lnTo>
                    <a:lnTo>
                      <a:pt x="1" y="132"/>
                    </a:lnTo>
                    <a:lnTo>
                      <a:pt x="0" y="80"/>
                    </a:lnTo>
                    <a:lnTo>
                      <a:pt x="8" y="76"/>
                    </a:lnTo>
                    <a:lnTo>
                      <a:pt x="15" y="72"/>
                    </a:lnTo>
                    <a:lnTo>
                      <a:pt x="15" y="20"/>
                    </a:lnTo>
                    <a:lnTo>
                      <a:pt x="22" y="7"/>
                    </a:lnTo>
                    <a:lnTo>
                      <a:pt x="40" y="0"/>
                    </a:lnTo>
                    <a:lnTo>
                      <a:pt x="47" y="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98" name="Freeform 135">
                <a:extLst>
                  <a:ext uri="{FF2B5EF4-FFF2-40B4-BE49-F238E27FC236}">
                    <a16:creationId xmlns:a16="http://schemas.microsoft.com/office/drawing/2014/main" id="{DC7838EF-E0BB-4433-8B23-54B92446F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4" y="3212"/>
                <a:ext cx="645" cy="551"/>
              </a:xfrm>
              <a:custGeom>
                <a:avLst/>
                <a:gdLst>
                  <a:gd name="T0" fmla="*/ 296 w 575"/>
                  <a:gd name="T1" fmla="*/ 33 h 491"/>
                  <a:gd name="T2" fmla="*/ 258 w 575"/>
                  <a:gd name="T3" fmla="*/ 51 h 491"/>
                  <a:gd name="T4" fmla="*/ 254 w 575"/>
                  <a:gd name="T5" fmla="*/ 74 h 491"/>
                  <a:gd name="T6" fmla="*/ 230 w 575"/>
                  <a:gd name="T7" fmla="*/ 66 h 491"/>
                  <a:gd name="T8" fmla="*/ 199 w 575"/>
                  <a:gd name="T9" fmla="*/ 60 h 491"/>
                  <a:gd name="T10" fmla="*/ 184 w 575"/>
                  <a:gd name="T11" fmla="*/ 85 h 491"/>
                  <a:gd name="T12" fmla="*/ 164 w 575"/>
                  <a:gd name="T13" fmla="*/ 102 h 491"/>
                  <a:gd name="T14" fmla="*/ 156 w 575"/>
                  <a:gd name="T15" fmla="*/ 113 h 491"/>
                  <a:gd name="T16" fmla="*/ 145 w 575"/>
                  <a:gd name="T17" fmla="*/ 127 h 491"/>
                  <a:gd name="T18" fmla="*/ 104 w 575"/>
                  <a:gd name="T19" fmla="*/ 161 h 491"/>
                  <a:gd name="T20" fmla="*/ 31 w 575"/>
                  <a:gd name="T21" fmla="*/ 199 h 491"/>
                  <a:gd name="T22" fmla="*/ 9 w 575"/>
                  <a:gd name="T23" fmla="*/ 248 h 491"/>
                  <a:gd name="T24" fmla="*/ 17 w 575"/>
                  <a:gd name="T25" fmla="*/ 265 h 491"/>
                  <a:gd name="T26" fmla="*/ 0 w 575"/>
                  <a:gd name="T27" fmla="*/ 270 h 491"/>
                  <a:gd name="T28" fmla="*/ 17 w 575"/>
                  <a:gd name="T29" fmla="*/ 312 h 491"/>
                  <a:gd name="T30" fmla="*/ 17 w 575"/>
                  <a:gd name="T31" fmla="*/ 344 h 491"/>
                  <a:gd name="T32" fmla="*/ 25 w 575"/>
                  <a:gd name="T33" fmla="*/ 377 h 491"/>
                  <a:gd name="T34" fmla="*/ 12 w 575"/>
                  <a:gd name="T35" fmla="*/ 389 h 491"/>
                  <a:gd name="T36" fmla="*/ 35 w 575"/>
                  <a:gd name="T37" fmla="*/ 424 h 491"/>
                  <a:gd name="T38" fmla="*/ 53 w 575"/>
                  <a:gd name="T39" fmla="*/ 420 h 491"/>
                  <a:gd name="T40" fmla="*/ 83 w 575"/>
                  <a:gd name="T41" fmla="*/ 412 h 491"/>
                  <a:gd name="T42" fmla="*/ 142 w 575"/>
                  <a:gd name="T43" fmla="*/ 391 h 491"/>
                  <a:gd name="T44" fmla="*/ 204 w 575"/>
                  <a:gd name="T45" fmla="*/ 375 h 491"/>
                  <a:gd name="T46" fmla="*/ 231 w 575"/>
                  <a:gd name="T47" fmla="*/ 365 h 491"/>
                  <a:gd name="T48" fmla="*/ 245 w 575"/>
                  <a:gd name="T49" fmla="*/ 369 h 491"/>
                  <a:gd name="T50" fmla="*/ 278 w 575"/>
                  <a:gd name="T51" fmla="*/ 383 h 491"/>
                  <a:gd name="T52" fmla="*/ 290 w 575"/>
                  <a:gd name="T53" fmla="*/ 418 h 491"/>
                  <a:gd name="T54" fmla="*/ 310 w 575"/>
                  <a:gd name="T55" fmla="*/ 409 h 491"/>
                  <a:gd name="T56" fmla="*/ 330 w 575"/>
                  <a:gd name="T57" fmla="*/ 383 h 491"/>
                  <a:gd name="T58" fmla="*/ 326 w 575"/>
                  <a:gd name="T59" fmla="*/ 409 h 491"/>
                  <a:gd name="T60" fmla="*/ 328 w 575"/>
                  <a:gd name="T61" fmla="*/ 422 h 491"/>
                  <a:gd name="T62" fmla="*/ 337 w 575"/>
                  <a:gd name="T63" fmla="*/ 405 h 491"/>
                  <a:gd name="T64" fmla="*/ 339 w 575"/>
                  <a:gd name="T65" fmla="*/ 422 h 491"/>
                  <a:gd name="T66" fmla="*/ 349 w 575"/>
                  <a:gd name="T67" fmla="*/ 442 h 491"/>
                  <a:gd name="T68" fmla="*/ 358 w 575"/>
                  <a:gd name="T69" fmla="*/ 471 h 491"/>
                  <a:gd name="T70" fmla="*/ 425 w 575"/>
                  <a:gd name="T71" fmla="*/ 490 h 491"/>
                  <a:gd name="T72" fmla="*/ 491 w 575"/>
                  <a:gd name="T73" fmla="*/ 460 h 491"/>
                  <a:gd name="T74" fmla="*/ 521 w 575"/>
                  <a:gd name="T75" fmla="*/ 415 h 491"/>
                  <a:gd name="T76" fmla="*/ 558 w 575"/>
                  <a:gd name="T77" fmla="*/ 366 h 491"/>
                  <a:gd name="T78" fmla="*/ 565 w 575"/>
                  <a:gd name="T79" fmla="*/ 316 h 491"/>
                  <a:gd name="T80" fmla="*/ 572 w 575"/>
                  <a:gd name="T81" fmla="*/ 251 h 491"/>
                  <a:gd name="T82" fmla="*/ 546 w 575"/>
                  <a:gd name="T83" fmla="*/ 201 h 491"/>
                  <a:gd name="T84" fmla="*/ 523 w 575"/>
                  <a:gd name="T85" fmla="*/ 165 h 491"/>
                  <a:gd name="T86" fmla="*/ 493 w 575"/>
                  <a:gd name="T87" fmla="*/ 117 h 491"/>
                  <a:gd name="T88" fmla="*/ 465 w 575"/>
                  <a:gd name="T89" fmla="*/ 60 h 491"/>
                  <a:gd name="T90" fmla="*/ 463 w 575"/>
                  <a:gd name="T91" fmla="*/ 19 h 491"/>
                  <a:gd name="T92" fmla="*/ 437 w 575"/>
                  <a:gd name="T93" fmla="*/ 19 h 491"/>
                  <a:gd name="T94" fmla="*/ 430 w 575"/>
                  <a:gd name="T95" fmla="*/ 89 h 491"/>
                  <a:gd name="T96" fmla="*/ 416 w 575"/>
                  <a:gd name="T97" fmla="*/ 113 h 491"/>
                  <a:gd name="T98" fmla="*/ 384 w 575"/>
                  <a:gd name="T99" fmla="*/ 100 h 491"/>
                  <a:gd name="T100" fmla="*/ 353 w 575"/>
                  <a:gd name="T101" fmla="*/ 81 h 491"/>
                  <a:gd name="T102" fmla="*/ 348 w 575"/>
                  <a:gd name="T103" fmla="*/ 62 h 491"/>
                  <a:gd name="T104" fmla="*/ 360 w 575"/>
                  <a:gd name="T105" fmla="*/ 46 h 491"/>
                  <a:gd name="T106" fmla="*/ 347 w 575"/>
                  <a:gd name="T107" fmla="*/ 25 h 491"/>
                  <a:gd name="T108" fmla="*/ 307 w 575"/>
                  <a:gd name="T109" fmla="*/ 12 h 491"/>
                  <a:gd name="T110" fmla="*/ 282 w 575"/>
                  <a:gd name="T111" fmla="*/ 15 h 4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75" h="491">
                    <a:moveTo>
                      <a:pt x="293" y="20"/>
                    </a:moveTo>
                    <a:lnTo>
                      <a:pt x="296" y="33"/>
                    </a:lnTo>
                    <a:lnTo>
                      <a:pt x="269" y="37"/>
                    </a:lnTo>
                    <a:lnTo>
                      <a:pt x="258" y="51"/>
                    </a:lnTo>
                    <a:lnTo>
                      <a:pt x="256" y="59"/>
                    </a:lnTo>
                    <a:lnTo>
                      <a:pt x="254" y="74"/>
                    </a:lnTo>
                    <a:lnTo>
                      <a:pt x="237" y="78"/>
                    </a:lnTo>
                    <a:lnTo>
                      <a:pt x="230" y="66"/>
                    </a:lnTo>
                    <a:lnTo>
                      <a:pt x="221" y="55"/>
                    </a:lnTo>
                    <a:lnTo>
                      <a:pt x="199" y="60"/>
                    </a:lnTo>
                    <a:lnTo>
                      <a:pt x="195" y="74"/>
                    </a:lnTo>
                    <a:lnTo>
                      <a:pt x="184" y="85"/>
                    </a:lnTo>
                    <a:lnTo>
                      <a:pt x="171" y="91"/>
                    </a:lnTo>
                    <a:lnTo>
                      <a:pt x="164" y="102"/>
                    </a:lnTo>
                    <a:lnTo>
                      <a:pt x="164" y="113"/>
                    </a:lnTo>
                    <a:lnTo>
                      <a:pt x="156" y="113"/>
                    </a:lnTo>
                    <a:lnTo>
                      <a:pt x="149" y="102"/>
                    </a:lnTo>
                    <a:lnTo>
                      <a:pt x="145" y="127"/>
                    </a:lnTo>
                    <a:lnTo>
                      <a:pt x="124" y="153"/>
                    </a:lnTo>
                    <a:lnTo>
                      <a:pt x="104" y="161"/>
                    </a:lnTo>
                    <a:lnTo>
                      <a:pt x="53" y="176"/>
                    </a:lnTo>
                    <a:lnTo>
                      <a:pt x="31" y="199"/>
                    </a:lnTo>
                    <a:lnTo>
                      <a:pt x="6" y="201"/>
                    </a:lnTo>
                    <a:lnTo>
                      <a:pt x="9" y="248"/>
                    </a:lnTo>
                    <a:lnTo>
                      <a:pt x="20" y="255"/>
                    </a:lnTo>
                    <a:lnTo>
                      <a:pt x="17" y="265"/>
                    </a:lnTo>
                    <a:lnTo>
                      <a:pt x="2" y="255"/>
                    </a:lnTo>
                    <a:lnTo>
                      <a:pt x="0" y="270"/>
                    </a:lnTo>
                    <a:lnTo>
                      <a:pt x="8" y="296"/>
                    </a:lnTo>
                    <a:lnTo>
                      <a:pt x="17" y="312"/>
                    </a:lnTo>
                    <a:lnTo>
                      <a:pt x="17" y="331"/>
                    </a:lnTo>
                    <a:lnTo>
                      <a:pt x="17" y="344"/>
                    </a:lnTo>
                    <a:lnTo>
                      <a:pt x="24" y="349"/>
                    </a:lnTo>
                    <a:lnTo>
                      <a:pt x="25" y="377"/>
                    </a:lnTo>
                    <a:lnTo>
                      <a:pt x="17" y="378"/>
                    </a:lnTo>
                    <a:lnTo>
                      <a:pt x="12" y="389"/>
                    </a:lnTo>
                    <a:lnTo>
                      <a:pt x="6" y="398"/>
                    </a:lnTo>
                    <a:lnTo>
                      <a:pt x="35" y="424"/>
                    </a:lnTo>
                    <a:lnTo>
                      <a:pt x="47" y="427"/>
                    </a:lnTo>
                    <a:lnTo>
                      <a:pt x="53" y="420"/>
                    </a:lnTo>
                    <a:lnTo>
                      <a:pt x="59" y="409"/>
                    </a:lnTo>
                    <a:lnTo>
                      <a:pt x="83" y="412"/>
                    </a:lnTo>
                    <a:lnTo>
                      <a:pt x="133" y="405"/>
                    </a:lnTo>
                    <a:lnTo>
                      <a:pt x="142" y="391"/>
                    </a:lnTo>
                    <a:lnTo>
                      <a:pt x="158" y="380"/>
                    </a:lnTo>
                    <a:lnTo>
                      <a:pt x="204" y="375"/>
                    </a:lnTo>
                    <a:lnTo>
                      <a:pt x="213" y="366"/>
                    </a:lnTo>
                    <a:lnTo>
                      <a:pt x="231" y="365"/>
                    </a:lnTo>
                    <a:lnTo>
                      <a:pt x="244" y="361"/>
                    </a:lnTo>
                    <a:lnTo>
                      <a:pt x="245" y="369"/>
                    </a:lnTo>
                    <a:lnTo>
                      <a:pt x="267" y="371"/>
                    </a:lnTo>
                    <a:lnTo>
                      <a:pt x="278" y="383"/>
                    </a:lnTo>
                    <a:lnTo>
                      <a:pt x="289" y="399"/>
                    </a:lnTo>
                    <a:lnTo>
                      <a:pt x="290" y="418"/>
                    </a:lnTo>
                    <a:lnTo>
                      <a:pt x="299" y="416"/>
                    </a:lnTo>
                    <a:lnTo>
                      <a:pt x="310" y="409"/>
                    </a:lnTo>
                    <a:lnTo>
                      <a:pt x="322" y="397"/>
                    </a:lnTo>
                    <a:lnTo>
                      <a:pt x="330" y="383"/>
                    </a:lnTo>
                    <a:lnTo>
                      <a:pt x="332" y="394"/>
                    </a:lnTo>
                    <a:lnTo>
                      <a:pt x="326" y="409"/>
                    </a:lnTo>
                    <a:lnTo>
                      <a:pt x="318" y="420"/>
                    </a:lnTo>
                    <a:lnTo>
                      <a:pt x="328" y="422"/>
                    </a:lnTo>
                    <a:lnTo>
                      <a:pt x="332" y="412"/>
                    </a:lnTo>
                    <a:lnTo>
                      <a:pt x="337" y="405"/>
                    </a:lnTo>
                    <a:lnTo>
                      <a:pt x="337" y="412"/>
                    </a:lnTo>
                    <a:lnTo>
                      <a:pt x="339" y="422"/>
                    </a:lnTo>
                    <a:lnTo>
                      <a:pt x="348" y="431"/>
                    </a:lnTo>
                    <a:lnTo>
                      <a:pt x="349" y="442"/>
                    </a:lnTo>
                    <a:lnTo>
                      <a:pt x="344" y="456"/>
                    </a:lnTo>
                    <a:lnTo>
                      <a:pt x="358" y="471"/>
                    </a:lnTo>
                    <a:lnTo>
                      <a:pt x="389" y="482"/>
                    </a:lnTo>
                    <a:lnTo>
                      <a:pt x="425" y="490"/>
                    </a:lnTo>
                    <a:lnTo>
                      <a:pt x="450" y="481"/>
                    </a:lnTo>
                    <a:lnTo>
                      <a:pt x="491" y="460"/>
                    </a:lnTo>
                    <a:lnTo>
                      <a:pt x="503" y="429"/>
                    </a:lnTo>
                    <a:lnTo>
                      <a:pt x="521" y="415"/>
                    </a:lnTo>
                    <a:lnTo>
                      <a:pt x="534" y="388"/>
                    </a:lnTo>
                    <a:lnTo>
                      <a:pt x="558" y="366"/>
                    </a:lnTo>
                    <a:lnTo>
                      <a:pt x="565" y="355"/>
                    </a:lnTo>
                    <a:lnTo>
                      <a:pt x="565" y="316"/>
                    </a:lnTo>
                    <a:lnTo>
                      <a:pt x="574" y="263"/>
                    </a:lnTo>
                    <a:lnTo>
                      <a:pt x="572" y="251"/>
                    </a:lnTo>
                    <a:lnTo>
                      <a:pt x="555" y="228"/>
                    </a:lnTo>
                    <a:lnTo>
                      <a:pt x="546" y="201"/>
                    </a:lnTo>
                    <a:lnTo>
                      <a:pt x="527" y="191"/>
                    </a:lnTo>
                    <a:lnTo>
                      <a:pt x="523" y="165"/>
                    </a:lnTo>
                    <a:lnTo>
                      <a:pt x="494" y="150"/>
                    </a:lnTo>
                    <a:lnTo>
                      <a:pt x="493" y="117"/>
                    </a:lnTo>
                    <a:lnTo>
                      <a:pt x="483" y="80"/>
                    </a:lnTo>
                    <a:lnTo>
                      <a:pt x="465" y="60"/>
                    </a:lnTo>
                    <a:lnTo>
                      <a:pt x="455" y="33"/>
                    </a:lnTo>
                    <a:lnTo>
                      <a:pt x="463" y="19"/>
                    </a:lnTo>
                    <a:lnTo>
                      <a:pt x="448" y="0"/>
                    </a:lnTo>
                    <a:lnTo>
                      <a:pt x="437" y="19"/>
                    </a:lnTo>
                    <a:lnTo>
                      <a:pt x="429" y="30"/>
                    </a:lnTo>
                    <a:lnTo>
                      <a:pt x="430" y="89"/>
                    </a:lnTo>
                    <a:lnTo>
                      <a:pt x="421" y="104"/>
                    </a:lnTo>
                    <a:lnTo>
                      <a:pt x="416" y="113"/>
                    </a:lnTo>
                    <a:lnTo>
                      <a:pt x="399" y="113"/>
                    </a:lnTo>
                    <a:lnTo>
                      <a:pt x="384" y="100"/>
                    </a:lnTo>
                    <a:lnTo>
                      <a:pt x="365" y="93"/>
                    </a:lnTo>
                    <a:lnTo>
                      <a:pt x="353" y="81"/>
                    </a:lnTo>
                    <a:lnTo>
                      <a:pt x="342" y="77"/>
                    </a:lnTo>
                    <a:lnTo>
                      <a:pt x="348" y="62"/>
                    </a:lnTo>
                    <a:lnTo>
                      <a:pt x="351" y="49"/>
                    </a:lnTo>
                    <a:lnTo>
                      <a:pt x="360" y="46"/>
                    </a:lnTo>
                    <a:lnTo>
                      <a:pt x="366" y="28"/>
                    </a:lnTo>
                    <a:lnTo>
                      <a:pt x="347" y="25"/>
                    </a:lnTo>
                    <a:lnTo>
                      <a:pt x="328" y="23"/>
                    </a:lnTo>
                    <a:lnTo>
                      <a:pt x="307" y="12"/>
                    </a:lnTo>
                    <a:lnTo>
                      <a:pt x="284" y="9"/>
                    </a:lnTo>
                    <a:lnTo>
                      <a:pt x="282" y="15"/>
                    </a:lnTo>
                    <a:lnTo>
                      <a:pt x="293" y="2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99" name="Freeform 136">
                <a:extLst>
                  <a:ext uri="{FF2B5EF4-FFF2-40B4-BE49-F238E27FC236}">
                    <a16:creationId xmlns:a16="http://schemas.microsoft.com/office/drawing/2014/main" id="{323823AA-2C9E-440B-B8A0-6F43AD075A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6" y="3805"/>
                <a:ext cx="57" cy="61"/>
              </a:xfrm>
              <a:custGeom>
                <a:avLst/>
                <a:gdLst>
                  <a:gd name="T0" fmla="*/ 3 w 52"/>
                  <a:gd name="T1" fmla="*/ 0 h 53"/>
                  <a:gd name="T2" fmla="*/ 22 w 52"/>
                  <a:gd name="T3" fmla="*/ 4 h 53"/>
                  <a:gd name="T4" fmla="*/ 51 w 52"/>
                  <a:gd name="T5" fmla="*/ 4 h 53"/>
                  <a:gd name="T6" fmla="*/ 49 w 52"/>
                  <a:gd name="T7" fmla="*/ 21 h 53"/>
                  <a:gd name="T8" fmla="*/ 40 w 52"/>
                  <a:gd name="T9" fmla="*/ 34 h 53"/>
                  <a:gd name="T10" fmla="*/ 38 w 52"/>
                  <a:gd name="T11" fmla="*/ 47 h 53"/>
                  <a:gd name="T12" fmla="*/ 22 w 52"/>
                  <a:gd name="T13" fmla="*/ 50 h 53"/>
                  <a:gd name="T14" fmla="*/ 11 w 52"/>
                  <a:gd name="T15" fmla="*/ 52 h 53"/>
                  <a:gd name="T16" fmla="*/ 0 w 52"/>
                  <a:gd name="T17" fmla="*/ 45 h 53"/>
                  <a:gd name="T18" fmla="*/ 3 w 52"/>
                  <a:gd name="T19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" h="53">
                    <a:moveTo>
                      <a:pt x="3" y="0"/>
                    </a:moveTo>
                    <a:lnTo>
                      <a:pt x="22" y="4"/>
                    </a:lnTo>
                    <a:lnTo>
                      <a:pt x="51" y="4"/>
                    </a:lnTo>
                    <a:lnTo>
                      <a:pt x="49" y="21"/>
                    </a:lnTo>
                    <a:lnTo>
                      <a:pt x="40" y="34"/>
                    </a:lnTo>
                    <a:lnTo>
                      <a:pt x="38" y="47"/>
                    </a:lnTo>
                    <a:lnTo>
                      <a:pt x="22" y="50"/>
                    </a:lnTo>
                    <a:lnTo>
                      <a:pt x="11" y="52"/>
                    </a:lnTo>
                    <a:lnTo>
                      <a:pt x="0" y="45"/>
                    </a:lnTo>
                    <a:lnTo>
                      <a:pt x="3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00" name="Freeform 137">
                <a:extLst>
                  <a:ext uri="{FF2B5EF4-FFF2-40B4-BE49-F238E27FC236}">
                    <a16:creationId xmlns:a16="http://schemas.microsoft.com/office/drawing/2014/main" id="{0A0BF29A-CDFD-42F4-86D0-B5521CD78F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" y="3404"/>
                <a:ext cx="41" cy="33"/>
              </a:xfrm>
              <a:custGeom>
                <a:avLst/>
                <a:gdLst>
                  <a:gd name="T0" fmla="*/ 11 w 37"/>
                  <a:gd name="T1" fmla="*/ 0 h 29"/>
                  <a:gd name="T2" fmla="*/ 0 w 37"/>
                  <a:gd name="T3" fmla="*/ 5 h 29"/>
                  <a:gd name="T4" fmla="*/ 8 w 37"/>
                  <a:gd name="T5" fmla="*/ 13 h 29"/>
                  <a:gd name="T6" fmla="*/ 18 w 37"/>
                  <a:gd name="T7" fmla="*/ 22 h 29"/>
                  <a:gd name="T8" fmla="*/ 32 w 37"/>
                  <a:gd name="T9" fmla="*/ 28 h 29"/>
                  <a:gd name="T10" fmla="*/ 36 w 37"/>
                  <a:gd name="T11" fmla="*/ 20 h 29"/>
                  <a:gd name="T12" fmla="*/ 26 w 37"/>
                  <a:gd name="T13" fmla="*/ 5 h 29"/>
                  <a:gd name="T14" fmla="*/ 11 w 37"/>
                  <a:gd name="T1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" h="29">
                    <a:moveTo>
                      <a:pt x="11" y="0"/>
                    </a:moveTo>
                    <a:lnTo>
                      <a:pt x="0" y="5"/>
                    </a:lnTo>
                    <a:lnTo>
                      <a:pt x="8" y="13"/>
                    </a:lnTo>
                    <a:lnTo>
                      <a:pt x="18" y="22"/>
                    </a:lnTo>
                    <a:lnTo>
                      <a:pt x="32" y="28"/>
                    </a:lnTo>
                    <a:lnTo>
                      <a:pt x="36" y="20"/>
                    </a:lnTo>
                    <a:lnTo>
                      <a:pt x="26" y="5"/>
                    </a:lnTo>
                    <a:lnTo>
                      <a:pt x="11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01" name="Freeform 138">
                <a:extLst>
                  <a:ext uri="{FF2B5EF4-FFF2-40B4-BE49-F238E27FC236}">
                    <a16:creationId xmlns:a16="http://schemas.microsoft.com/office/drawing/2014/main" id="{E3FC9864-30A2-4291-A358-769BEDEA7A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" y="3047"/>
                <a:ext cx="32" cy="48"/>
              </a:xfrm>
              <a:custGeom>
                <a:avLst/>
                <a:gdLst>
                  <a:gd name="T0" fmla="*/ 0 w 28"/>
                  <a:gd name="T1" fmla="*/ 0 h 42"/>
                  <a:gd name="T2" fmla="*/ 10 w 28"/>
                  <a:gd name="T3" fmla="*/ 20 h 42"/>
                  <a:gd name="T4" fmla="*/ 23 w 28"/>
                  <a:gd name="T5" fmla="*/ 41 h 42"/>
                  <a:gd name="T6" fmla="*/ 27 w 28"/>
                  <a:gd name="T7" fmla="*/ 15 h 42"/>
                  <a:gd name="T8" fmla="*/ 0 w 28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42">
                    <a:moveTo>
                      <a:pt x="0" y="0"/>
                    </a:moveTo>
                    <a:lnTo>
                      <a:pt x="10" y="20"/>
                    </a:lnTo>
                    <a:lnTo>
                      <a:pt x="23" y="41"/>
                    </a:lnTo>
                    <a:lnTo>
                      <a:pt x="27" y="15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02" name="Freeform 139">
                <a:extLst>
                  <a:ext uri="{FF2B5EF4-FFF2-40B4-BE49-F238E27FC236}">
                    <a16:creationId xmlns:a16="http://schemas.microsoft.com/office/drawing/2014/main" id="{C20AEE4D-8D30-4499-BC91-1BC763E420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5" y="3073"/>
                <a:ext cx="135" cy="141"/>
              </a:xfrm>
              <a:custGeom>
                <a:avLst/>
                <a:gdLst>
                  <a:gd name="T0" fmla="*/ 19 w 119"/>
                  <a:gd name="T1" fmla="*/ 74 h 125"/>
                  <a:gd name="T2" fmla="*/ 0 w 119"/>
                  <a:gd name="T3" fmla="*/ 0 h 125"/>
                  <a:gd name="T4" fmla="*/ 16 w 119"/>
                  <a:gd name="T5" fmla="*/ 6 h 125"/>
                  <a:gd name="T6" fmla="*/ 40 w 119"/>
                  <a:gd name="T7" fmla="*/ 5 h 125"/>
                  <a:gd name="T8" fmla="*/ 40 w 119"/>
                  <a:gd name="T9" fmla="*/ 25 h 125"/>
                  <a:gd name="T10" fmla="*/ 55 w 119"/>
                  <a:gd name="T11" fmla="*/ 30 h 125"/>
                  <a:gd name="T12" fmla="*/ 59 w 119"/>
                  <a:gd name="T13" fmla="*/ 40 h 125"/>
                  <a:gd name="T14" fmla="*/ 70 w 119"/>
                  <a:gd name="T15" fmla="*/ 51 h 125"/>
                  <a:gd name="T16" fmla="*/ 78 w 119"/>
                  <a:gd name="T17" fmla="*/ 59 h 125"/>
                  <a:gd name="T18" fmla="*/ 76 w 119"/>
                  <a:gd name="T19" fmla="*/ 76 h 125"/>
                  <a:gd name="T20" fmla="*/ 87 w 119"/>
                  <a:gd name="T21" fmla="*/ 95 h 125"/>
                  <a:gd name="T22" fmla="*/ 107 w 119"/>
                  <a:gd name="T23" fmla="*/ 101 h 125"/>
                  <a:gd name="T24" fmla="*/ 118 w 119"/>
                  <a:gd name="T25" fmla="*/ 120 h 125"/>
                  <a:gd name="T26" fmla="*/ 116 w 119"/>
                  <a:gd name="T27" fmla="*/ 120 h 125"/>
                  <a:gd name="T28" fmla="*/ 115 w 119"/>
                  <a:gd name="T29" fmla="*/ 121 h 125"/>
                  <a:gd name="T30" fmla="*/ 113 w 119"/>
                  <a:gd name="T31" fmla="*/ 121 h 125"/>
                  <a:gd name="T32" fmla="*/ 110 w 119"/>
                  <a:gd name="T33" fmla="*/ 121 h 125"/>
                  <a:gd name="T34" fmla="*/ 108 w 119"/>
                  <a:gd name="T35" fmla="*/ 122 h 125"/>
                  <a:gd name="T36" fmla="*/ 106 w 119"/>
                  <a:gd name="T37" fmla="*/ 123 h 125"/>
                  <a:gd name="T38" fmla="*/ 103 w 119"/>
                  <a:gd name="T39" fmla="*/ 123 h 125"/>
                  <a:gd name="T40" fmla="*/ 101 w 119"/>
                  <a:gd name="T41" fmla="*/ 124 h 125"/>
                  <a:gd name="T42" fmla="*/ 99 w 119"/>
                  <a:gd name="T43" fmla="*/ 124 h 125"/>
                  <a:gd name="T44" fmla="*/ 97 w 119"/>
                  <a:gd name="T45" fmla="*/ 124 h 125"/>
                  <a:gd name="T46" fmla="*/ 96 w 119"/>
                  <a:gd name="T47" fmla="*/ 124 h 125"/>
                  <a:gd name="T48" fmla="*/ 95 w 119"/>
                  <a:gd name="T49" fmla="*/ 122 h 125"/>
                  <a:gd name="T50" fmla="*/ 93 w 119"/>
                  <a:gd name="T51" fmla="*/ 121 h 125"/>
                  <a:gd name="T52" fmla="*/ 91 w 119"/>
                  <a:gd name="T53" fmla="*/ 121 h 125"/>
                  <a:gd name="T54" fmla="*/ 88 w 119"/>
                  <a:gd name="T55" fmla="*/ 121 h 125"/>
                  <a:gd name="T56" fmla="*/ 86 w 119"/>
                  <a:gd name="T57" fmla="*/ 120 h 125"/>
                  <a:gd name="T58" fmla="*/ 83 w 119"/>
                  <a:gd name="T59" fmla="*/ 119 h 125"/>
                  <a:gd name="T60" fmla="*/ 81 w 119"/>
                  <a:gd name="T61" fmla="*/ 118 h 125"/>
                  <a:gd name="T62" fmla="*/ 78 w 119"/>
                  <a:gd name="T63" fmla="*/ 117 h 125"/>
                  <a:gd name="T64" fmla="*/ 76 w 119"/>
                  <a:gd name="T65" fmla="*/ 117 h 125"/>
                  <a:gd name="T66" fmla="*/ 75 w 119"/>
                  <a:gd name="T67" fmla="*/ 117 h 125"/>
                  <a:gd name="T68" fmla="*/ 74 w 119"/>
                  <a:gd name="T69" fmla="*/ 117 h 125"/>
                  <a:gd name="T70" fmla="*/ 55 w 119"/>
                  <a:gd name="T71" fmla="*/ 97 h 125"/>
                  <a:gd name="T72" fmla="*/ 41 w 119"/>
                  <a:gd name="T73" fmla="*/ 78 h 125"/>
                  <a:gd name="T74" fmla="*/ 19 w 119"/>
                  <a:gd name="T75" fmla="*/ 74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9" h="125">
                    <a:moveTo>
                      <a:pt x="19" y="74"/>
                    </a:moveTo>
                    <a:lnTo>
                      <a:pt x="0" y="0"/>
                    </a:lnTo>
                    <a:lnTo>
                      <a:pt x="16" y="6"/>
                    </a:lnTo>
                    <a:lnTo>
                      <a:pt x="40" y="5"/>
                    </a:lnTo>
                    <a:lnTo>
                      <a:pt x="40" y="25"/>
                    </a:lnTo>
                    <a:lnTo>
                      <a:pt x="55" y="30"/>
                    </a:lnTo>
                    <a:lnTo>
                      <a:pt x="59" y="40"/>
                    </a:lnTo>
                    <a:lnTo>
                      <a:pt x="70" y="51"/>
                    </a:lnTo>
                    <a:lnTo>
                      <a:pt x="78" y="59"/>
                    </a:lnTo>
                    <a:lnTo>
                      <a:pt x="76" y="76"/>
                    </a:lnTo>
                    <a:lnTo>
                      <a:pt x="87" y="95"/>
                    </a:lnTo>
                    <a:lnTo>
                      <a:pt x="107" y="101"/>
                    </a:lnTo>
                    <a:lnTo>
                      <a:pt x="118" y="120"/>
                    </a:lnTo>
                    <a:lnTo>
                      <a:pt x="116" y="120"/>
                    </a:lnTo>
                    <a:lnTo>
                      <a:pt x="115" y="121"/>
                    </a:lnTo>
                    <a:lnTo>
                      <a:pt x="113" y="121"/>
                    </a:lnTo>
                    <a:lnTo>
                      <a:pt x="110" y="121"/>
                    </a:lnTo>
                    <a:lnTo>
                      <a:pt x="108" y="122"/>
                    </a:lnTo>
                    <a:lnTo>
                      <a:pt x="106" y="123"/>
                    </a:lnTo>
                    <a:lnTo>
                      <a:pt x="103" y="123"/>
                    </a:lnTo>
                    <a:lnTo>
                      <a:pt x="101" y="124"/>
                    </a:lnTo>
                    <a:lnTo>
                      <a:pt x="99" y="124"/>
                    </a:lnTo>
                    <a:lnTo>
                      <a:pt x="97" y="124"/>
                    </a:lnTo>
                    <a:lnTo>
                      <a:pt x="96" y="124"/>
                    </a:lnTo>
                    <a:lnTo>
                      <a:pt x="95" y="122"/>
                    </a:lnTo>
                    <a:lnTo>
                      <a:pt x="93" y="121"/>
                    </a:lnTo>
                    <a:lnTo>
                      <a:pt x="91" y="121"/>
                    </a:lnTo>
                    <a:lnTo>
                      <a:pt x="88" y="121"/>
                    </a:lnTo>
                    <a:lnTo>
                      <a:pt x="86" y="120"/>
                    </a:lnTo>
                    <a:lnTo>
                      <a:pt x="83" y="119"/>
                    </a:lnTo>
                    <a:lnTo>
                      <a:pt x="81" y="118"/>
                    </a:lnTo>
                    <a:lnTo>
                      <a:pt x="78" y="117"/>
                    </a:lnTo>
                    <a:lnTo>
                      <a:pt x="76" y="117"/>
                    </a:lnTo>
                    <a:lnTo>
                      <a:pt x="75" y="117"/>
                    </a:lnTo>
                    <a:lnTo>
                      <a:pt x="74" y="117"/>
                    </a:lnTo>
                    <a:lnTo>
                      <a:pt x="55" y="97"/>
                    </a:lnTo>
                    <a:lnTo>
                      <a:pt x="41" y="78"/>
                    </a:lnTo>
                    <a:lnTo>
                      <a:pt x="19" y="7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03" name="Freeform 140">
                <a:extLst>
                  <a:ext uri="{FF2B5EF4-FFF2-40B4-BE49-F238E27FC236}">
                    <a16:creationId xmlns:a16="http://schemas.microsoft.com/office/drawing/2014/main" id="{C8CA885E-E79C-45FB-B069-1A95398AED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4" y="3099"/>
                <a:ext cx="46" cy="37"/>
              </a:xfrm>
              <a:custGeom>
                <a:avLst/>
                <a:gdLst>
                  <a:gd name="T0" fmla="*/ 2 w 41"/>
                  <a:gd name="T1" fmla="*/ 16 h 33"/>
                  <a:gd name="T2" fmla="*/ 0 w 41"/>
                  <a:gd name="T3" fmla="*/ 28 h 33"/>
                  <a:gd name="T4" fmla="*/ 16 w 41"/>
                  <a:gd name="T5" fmla="*/ 32 h 33"/>
                  <a:gd name="T6" fmla="*/ 32 w 41"/>
                  <a:gd name="T7" fmla="*/ 22 h 33"/>
                  <a:gd name="T8" fmla="*/ 40 w 41"/>
                  <a:gd name="T9" fmla="*/ 11 h 33"/>
                  <a:gd name="T10" fmla="*/ 38 w 41"/>
                  <a:gd name="T11" fmla="*/ 0 h 33"/>
                  <a:gd name="T12" fmla="*/ 26 w 41"/>
                  <a:gd name="T13" fmla="*/ 1 h 33"/>
                  <a:gd name="T14" fmla="*/ 24 w 41"/>
                  <a:gd name="T15" fmla="*/ 11 h 33"/>
                  <a:gd name="T16" fmla="*/ 2 w 41"/>
                  <a:gd name="T17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33">
                    <a:moveTo>
                      <a:pt x="2" y="16"/>
                    </a:moveTo>
                    <a:lnTo>
                      <a:pt x="0" y="28"/>
                    </a:lnTo>
                    <a:lnTo>
                      <a:pt x="16" y="32"/>
                    </a:lnTo>
                    <a:lnTo>
                      <a:pt x="32" y="22"/>
                    </a:lnTo>
                    <a:lnTo>
                      <a:pt x="40" y="11"/>
                    </a:lnTo>
                    <a:lnTo>
                      <a:pt x="38" y="0"/>
                    </a:lnTo>
                    <a:lnTo>
                      <a:pt x="26" y="1"/>
                    </a:lnTo>
                    <a:lnTo>
                      <a:pt x="24" y="11"/>
                    </a:lnTo>
                    <a:lnTo>
                      <a:pt x="2" y="16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04" name="Freeform 141">
                <a:extLst>
                  <a:ext uri="{FF2B5EF4-FFF2-40B4-BE49-F238E27FC236}">
                    <a16:creationId xmlns:a16="http://schemas.microsoft.com/office/drawing/2014/main" id="{141B2CCC-BAEE-4EC5-9800-C645E6CD66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9" y="3109"/>
                <a:ext cx="23" cy="18"/>
              </a:xfrm>
              <a:custGeom>
                <a:avLst/>
                <a:gdLst>
                  <a:gd name="T0" fmla="*/ 10 w 21"/>
                  <a:gd name="T1" fmla="*/ 15 h 16"/>
                  <a:gd name="T2" fmla="*/ 11 w 21"/>
                  <a:gd name="T3" fmla="*/ 14 h 16"/>
                  <a:gd name="T4" fmla="*/ 13 w 21"/>
                  <a:gd name="T5" fmla="*/ 14 h 16"/>
                  <a:gd name="T6" fmla="*/ 15 w 21"/>
                  <a:gd name="T7" fmla="*/ 13 h 16"/>
                  <a:gd name="T8" fmla="*/ 16 w 21"/>
                  <a:gd name="T9" fmla="*/ 13 h 16"/>
                  <a:gd name="T10" fmla="*/ 17 w 21"/>
                  <a:gd name="T11" fmla="*/ 12 h 16"/>
                  <a:gd name="T12" fmla="*/ 18 w 21"/>
                  <a:gd name="T13" fmla="*/ 11 h 16"/>
                  <a:gd name="T14" fmla="*/ 19 w 21"/>
                  <a:gd name="T15" fmla="*/ 11 h 16"/>
                  <a:gd name="T16" fmla="*/ 20 w 21"/>
                  <a:gd name="T17" fmla="*/ 9 h 16"/>
                  <a:gd name="T18" fmla="*/ 20 w 21"/>
                  <a:gd name="T19" fmla="*/ 8 h 16"/>
                  <a:gd name="T20" fmla="*/ 20 w 21"/>
                  <a:gd name="T21" fmla="*/ 7 h 16"/>
                  <a:gd name="T22" fmla="*/ 20 w 21"/>
                  <a:gd name="T23" fmla="*/ 6 h 16"/>
                  <a:gd name="T24" fmla="*/ 20 w 21"/>
                  <a:gd name="T25" fmla="*/ 5 h 16"/>
                  <a:gd name="T26" fmla="*/ 19 w 21"/>
                  <a:gd name="T27" fmla="*/ 4 h 16"/>
                  <a:gd name="T28" fmla="*/ 18 w 21"/>
                  <a:gd name="T29" fmla="*/ 4 h 16"/>
                  <a:gd name="T30" fmla="*/ 18 w 21"/>
                  <a:gd name="T31" fmla="*/ 3 h 16"/>
                  <a:gd name="T32" fmla="*/ 17 w 21"/>
                  <a:gd name="T33" fmla="*/ 2 h 16"/>
                  <a:gd name="T34" fmla="*/ 16 w 21"/>
                  <a:gd name="T35" fmla="*/ 1 h 16"/>
                  <a:gd name="T36" fmla="*/ 15 w 21"/>
                  <a:gd name="T37" fmla="*/ 1 h 16"/>
                  <a:gd name="T38" fmla="*/ 13 w 21"/>
                  <a:gd name="T39" fmla="*/ 0 h 16"/>
                  <a:gd name="T40" fmla="*/ 11 w 21"/>
                  <a:gd name="T41" fmla="*/ 0 h 16"/>
                  <a:gd name="T42" fmla="*/ 10 w 21"/>
                  <a:gd name="T43" fmla="*/ 0 h 16"/>
                  <a:gd name="T44" fmla="*/ 8 w 21"/>
                  <a:gd name="T45" fmla="*/ 0 h 16"/>
                  <a:gd name="T46" fmla="*/ 7 w 21"/>
                  <a:gd name="T47" fmla="*/ 0 h 16"/>
                  <a:gd name="T48" fmla="*/ 5 w 21"/>
                  <a:gd name="T49" fmla="*/ 0 h 16"/>
                  <a:gd name="T50" fmla="*/ 5 w 21"/>
                  <a:gd name="T51" fmla="*/ 1 h 16"/>
                  <a:gd name="T52" fmla="*/ 3 w 21"/>
                  <a:gd name="T53" fmla="*/ 1 h 16"/>
                  <a:gd name="T54" fmla="*/ 3 w 21"/>
                  <a:gd name="T55" fmla="*/ 2 h 16"/>
                  <a:gd name="T56" fmla="*/ 2 w 21"/>
                  <a:gd name="T57" fmla="*/ 3 h 16"/>
                  <a:gd name="T58" fmla="*/ 1 w 21"/>
                  <a:gd name="T59" fmla="*/ 4 h 16"/>
                  <a:gd name="T60" fmla="*/ 0 w 21"/>
                  <a:gd name="T61" fmla="*/ 5 h 16"/>
                  <a:gd name="T62" fmla="*/ 0 w 21"/>
                  <a:gd name="T63" fmla="*/ 6 h 16"/>
                  <a:gd name="T64" fmla="*/ 0 w 21"/>
                  <a:gd name="T65" fmla="*/ 7 h 16"/>
                  <a:gd name="T66" fmla="*/ 0 w 21"/>
                  <a:gd name="T67" fmla="*/ 8 h 16"/>
                  <a:gd name="T68" fmla="*/ 0 w 21"/>
                  <a:gd name="T69" fmla="*/ 9 h 16"/>
                  <a:gd name="T70" fmla="*/ 1 w 21"/>
                  <a:gd name="T71" fmla="*/ 11 h 16"/>
                  <a:gd name="T72" fmla="*/ 2 w 21"/>
                  <a:gd name="T73" fmla="*/ 11 h 16"/>
                  <a:gd name="T74" fmla="*/ 3 w 21"/>
                  <a:gd name="T75" fmla="*/ 12 h 16"/>
                  <a:gd name="T76" fmla="*/ 3 w 21"/>
                  <a:gd name="T77" fmla="*/ 13 h 16"/>
                  <a:gd name="T78" fmla="*/ 5 w 21"/>
                  <a:gd name="T79" fmla="*/ 13 h 16"/>
                  <a:gd name="T80" fmla="*/ 5 w 21"/>
                  <a:gd name="T81" fmla="*/ 14 h 16"/>
                  <a:gd name="T82" fmla="*/ 7 w 21"/>
                  <a:gd name="T83" fmla="*/ 14 h 16"/>
                  <a:gd name="T84" fmla="*/ 8 w 21"/>
                  <a:gd name="T85" fmla="*/ 14 h 16"/>
                  <a:gd name="T86" fmla="*/ 10 w 21"/>
                  <a:gd name="T8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1" h="16">
                    <a:moveTo>
                      <a:pt x="10" y="15"/>
                    </a:moveTo>
                    <a:lnTo>
                      <a:pt x="11" y="14"/>
                    </a:lnTo>
                    <a:lnTo>
                      <a:pt x="13" y="14"/>
                    </a:lnTo>
                    <a:lnTo>
                      <a:pt x="15" y="13"/>
                    </a:lnTo>
                    <a:lnTo>
                      <a:pt x="16" y="13"/>
                    </a:lnTo>
                    <a:lnTo>
                      <a:pt x="17" y="12"/>
                    </a:lnTo>
                    <a:lnTo>
                      <a:pt x="18" y="11"/>
                    </a:lnTo>
                    <a:lnTo>
                      <a:pt x="19" y="11"/>
                    </a:lnTo>
                    <a:lnTo>
                      <a:pt x="20" y="9"/>
                    </a:lnTo>
                    <a:lnTo>
                      <a:pt x="20" y="8"/>
                    </a:lnTo>
                    <a:lnTo>
                      <a:pt x="20" y="7"/>
                    </a:lnTo>
                    <a:lnTo>
                      <a:pt x="20" y="6"/>
                    </a:lnTo>
                    <a:lnTo>
                      <a:pt x="20" y="5"/>
                    </a:lnTo>
                    <a:lnTo>
                      <a:pt x="19" y="4"/>
                    </a:lnTo>
                    <a:lnTo>
                      <a:pt x="18" y="4"/>
                    </a:lnTo>
                    <a:lnTo>
                      <a:pt x="18" y="3"/>
                    </a:lnTo>
                    <a:lnTo>
                      <a:pt x="17" y="2"/>
                    </a:lnTo>
                    <a:lnTo>
                      <a:pt x="16" y="1"/>
                    </a:lnTo>
                    <a:lnTo>
                      <a:pt x="15" y="1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5" y="1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1" y="4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1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3" y="13"/>
                    </a:lnTo>
                    <a:lnTo>
                      <a:pt x="5" y="13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8" y="14"/>
                    </a:lnTo>
                    <a:lnTo>
                      <a:pt x="10" y="1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05" name="Freeform 142">
                <a:extLst>
                  <a:ext uri="{FF2B5EF4-FFF2-40B4-BE49-F238E27FC236}">
                    <a16:creationId xmlns:a16="http://schemas.microsoft.com/office/drawing/2014/main" id="{9D581A62-C1B5-4BF2-BFE8-F546B058AE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6" y="3048"/>
                <a:ext cx="21" cy="18"/>
              </a:xfrm>
              <a:custGeom>
                <a:avLst/>
                <a:gdLst>
                  <a:gd name="T0" fmla="*/ 9 w 19"/>
                  <a:gd name="T1" fmla="*/ 14 h 15"/>
                  <a:gd name="T2" fmla="*/ 8 w 19"/>
                  <a:gd name="T3" fmla="*/ 14 h 15"/>
                  <a:gd name="T4" fmla="*/ 6 w 19"/>
                  <a:gd name="T5" fmla="*/ 14 h 15"/>
                  <a:gd name="T6" fmla="*/ 5 w 19"/>
                  <a:gd name="T7" fmla="*/ 14 h 15"/>
                  <a:gd name="T8" fmla="*/ 4 w 19"/>
                  <a:gd name="T9" fmla="*/ 14 h 15"/>
                  <a:gd name="T10" fmla="*/ 3 w 19"/>
                  <a:gd name="T11" fmla="*/ 12 h 15"/>
                  <a:gd name="T12" fmla="*/ 2 w 19"/>
                  <a:gd name="T13" fmla="*/ 12 h 15"/>
                  <a:gd name="T14" fmla="*/ 1 w 19"/>
                  <a:gd name="T15" fmla="*/ 12 h 15"/>
                  <a:gd name="T16" fmla="*/ 0 w 19"/>
                  <a:gd name="T17" fmla="*/ 12 h 15"/>
                  <a:gd name="T18" fmla="*/ 0 w 19"/>
                  <a:gd name="T19" fmla="*/ 11 h 15"/>
                  <a:gd name="T20" fmla="*/ 0 w 19"/>
                  <a:gd name="T21" fmla="*/ 9 h 15"/>
                  <a:gd name="T22" fmla="*/ 0 w 19"/>
                  <a:gd name="T23" fmla="*/ 7 h 15"/>
                  <a:gd name="T24" fmla="*/ 0 w 19"/>
                  <a:gd name="T25" fmla="*/ 6 h 15"/>
                  <a:gd name="T26" fmla="*/ 0 w 19"/>
                  <a:gd name="T27" fmla="*/ 4 h 15"/>
                  <a:gd name="T28" fmla="*/ 1 w 19"/>
                  <a:gd name="T29" fmla="*/ 4 h 15"/>
                  <a:gd name="T30" fmla="*/ 2 w 19"/>
                  <a:gd name="T31" fmla="*/ 3 h 15"/>
                  <a:gd name="T32" fmla="*/ 3 w 19"/>
                  <a:gd name="T33" fmla="*/ 3 h 15"/>
                  <a:gd name="T34" fmla="*/ 4 w 19"/>
                  <a:gd name="T35" fmla="*/ 1 h 15"/>
                  <a:gd name="T36" fmla="*/ 5 w 19"/>
                  <a:gd name="T37" fmla="*/ 1 h 15"/>
                  <a:gd name="T38" fmla="*/ 6 w 19"/>
                  <a:gd name="T39" fmla="*/ 1 h 15"/>
                  <a:gd name="T40" fmla="*/ 8 w 19"/>
                  <a:gd name="T41" fmla="*/ 1 h 15"/>
                  <a:gd name="T42" fmla="*/ 9 w 19"/>
                  <a:gd name="T43" fmla="*/ 0 h 15"/>
                  <a:gd name="T44" fmla="*/ 9 w 19"/>
                  <a:gd name="T45" fmla="*/ 1 h 15"/>
                  <a:gd name="T46" fmla="*/ 11 w 19"/>
                  <a:gd name="T47" fmla="*/ 1 h 15"/>
                  <a:gd name="T48" fmla="*/ 13 w 19"/>
                  <a:gd name="T49" fmla="*/ 1 h 15"/>
                  <a:gd name="T50" fmla="*/ 14 w 19"/>
                  <a:gd name="T51" fmla="*/ 3 h 15"/>
                  <a:gd name="T52" fmla="*/ 15 w 19"/>
                  <a:gd name="T53" fmla="*/ 3 h 15"/>
                  <a:gd name="T54" fmla="*/ 15 w 19"/>
                  <a:gd name="T55" fmla="*/ 4 h 15"/>
                  <a:gd name="T56" fmla="*/ 16 w 19"/>
                  <a:gd name="T57" fmla="*/ 4 h 15"/>
                  <a:gd name="T58" fmla="*/ 17 w 19"/>
                  <a:gd name="T59" fmla="*/ 6 h 15"/>
                  <a:gd name="T60" fmla="*/ 17 w 19"/>
                  <a:gd name="T61" fmla="*/ 7 h 15"/>
                  <a:gd name="T62" fmla="*/ 18 w 19"/>
                  <a:gd name="T63" fmla="*/ 7 h 15"/>
                  <a:gd name="T64" fmla="*/ 17 w 19"/>
                  <a:gd name="T65" fmla="*/ 9 h 15"/>
                  <a:gd name="T66" fmla="*/ 17 w 19"/>
                  <a:gd name="T67" fmla="*/ 11 h 15"/>
                  <a:gd name="T68" fmla="*/ 16 w 19"/>
                  <a:gd name="T69" fmla="*/ 11 h 15"/>
                  <a:gd name="T70" fmla="*/ 16 w 19"/>
                  <a:gd name="T71" fmla="*/ 12 h 15"/>
                  <a:gd name="T72" fmla="*/ 15 w 19"/>
                  <a:gd name="T73" fmla="*/ 12 h 15"/>
                  <a:gd name="T74" fmla="*/ 14 w 19"/>
                  <a:gd name="T75" fmla="*/ 12 h 15"/>
                  <a:gd name="T76" fmla="*/ 13 w 19"/>
                  <a:gd name="T77" fmla="*/ 14 h 15"/>
                  <a:gd name="T78" fmla="*/ 11 w 19"/>
                  <a:gd name="T79" fmla="*/ 14 h 15"/>
                  <a:gd name="T80" fmla="*/ 9 w 19"/>
                  <a:gd name="T81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9" h="15">
                    <a:moveTo>
                      <a:pt x="9" y="14"/>
                    </a:moveTo>
                    <a:lnTo>
                      <a:pt x="8" y="14"/>
                    </a:lnTo>
                    <a:lnTo>
                      <a:pt x="6" y="14"/>
                    </a:lnTo>
                    <a:lnTo>
                      <a:pt x="5" y="14"/>
                    </a:lnTo>
                    <a:lnTo>
                      <a:pt x="4" y="14"/>
                    </a:lnTo>
                    <a:lnTo>
                      <a:pt x="3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6" y="1"/>
                    </a:lnTo>
                    <a:lnTo>
                      <a:pt x="8" y="1"/>
                    </a:lnTo>
                    <a:lnTo>
                      <a:pt x="9" y="0"/>
                    </a:lnTo>
                    <a:lnTo>
                      <a:pt x="9" y="1"/>
                    </a:lnTo>
                    <a:lnTo>
                      <a:pt x="11" y="1"/>
                    </a:lnTo>
                    <a:lnTo>
                      <a:pt x="13" y="1"/>
                    </a:lnTo>
                    <a:lnTo>
                      <a:pt x="14" y="3"/>
                    </a:lnTo>
                    <a:lnTo>
                      <a:pt x="15" y="3"/>
                    </a:lnTo>
                    <a:lnTo>
                      <a:pt x="15" y="4"/>
                    </a:lnTo>
                    <a:lnTo>
                      <a:pt x="16" y="4"/>
                    </a:lnTo>
                    <a:lnTo>
                      <a:pt x="17" y="6"/>
                    </a:lnTo>
                    <a:lnTo>
                      <a:pt x="17" y="7"/>
                    </a:lnTo>
                    <a:lnTo>
                      <a:pt x="18" y="7"/>
                    </a:lnTo>
                    <a:lnTo>
                      <a:pt x="17" y="9"/>
                    </a:lnTo>
                    <a:lnTo>
                      <a:pt x="17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5" y="12"/>
                    </a:lnTo>
                    <a:lnTo>
                      <a:pt x="14" y="12"/>
                    </a:lnTo>
                    <a:lnTo>
                      <a:pt x="13" y="14"/>
                    </a:lnTo>
                    <a:lnTo>
                      <a:pt x="11" y="14"/>
                    </a:lnTo>
                    <a:lnTo>
                      <a:pt x="9" y="1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06" name="Freeform 143">
                <a:extLst>
                  <a:ext uri="{FF2B5EF4-FFF2-40B4-BE49-F238E27FC236}">
                    <a16:creationId xmlns:a16="http://schemas.microsoft.com/office/drawing/2014/main" id="{3E70F8BB-5F7A-4947-8B29-7AC078330E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2" y="3127"/>
                <a:ext cx="153" cy="52"/>
              </a:xfrm>
              <a:custGeom>
                <a:avLst/>
                <a:gdLst>
                  <a:gd name="T0" fmla="*/ 19 w 135"/>
                  <a:gd name="T1" fmla="*/ 2 h 46"/>
                  <a:gd name="T2" fmla="*/ 8 w 135"/>
                  <a:gd name="T3" fmla="*/ 7 h 46"/>
                  <a:gd name="T4" fmla="*/ 0 w 135"/>
                  <a:gd name="T5" fmla="*/ 17 h 46"/>
                  <a:gd name="T6" fmla="*/ 8 w 135"/>
                  <a:gd name="T7" fmla="*/ 31 h 46"/>
                  <a:gd name="T8" fmla="*/ 35 w 135"/>
                  <a:gd name="T9" fmla="*/ 31 h 46"/>
                  <a:gd name="T10" fmla="*/ 45 w 135"/>
                  <a:gd name="T11" fmla="*/ 36 h 46"/>
                  <a:gd name="T12" fmla="*/ 68 w 135"/>
                  <a:gd name="T13" fmla="*/ 36 h 46"/>
                  <a:gd name="T14" fmla="*/ 70 w 135"/>
                  <a:gd name="T15" fmla="*/ 45 h 46"/>
                  <a:gd name="T16" fmla="*/ 112 w 135"/>
                  <a:gd name="T17" fmla="*/ 45 h 46"/>
                  <a:gd name="T18" fmla="*/ 123 w 135"/>
                  <a:gd name="T19" fmla="*/ 45 h 46"/>
                  <a:gd name="T20" fmla="*/ 133 w 135"/>
                  <a:gd name="T21" fmla="*/ 45 h 46"/>
                  <a:gd name="T22" fmla="*/ 134 w 135"/>
                  <a:gd name="T23" fmla="*/ 34 h 46"/>
                  <a:gd name="T24" fmla="*/ 121 w 135"/>
                  <a:gd name="T25" fmla="*/ 28 h 46"/>
                  <a:gd name="T26" fmla="*/ 123 w 135"/>
                  <a:gd name="T27" fmla="*/ 17 h 46"/>
                  <a:gd name="T28" fmla="*/ 110 w 135"/>
                  <a:gd name="T29" fmla="*/ 18 h 46"/>
                  <a:gd name="T30" fmla="*/ 94 w 135"/>
                  <a:gd name="T31" fmla="*/ 17 h 46"/>
                  <a:gd name="T32" fmla="*/ 82 w 135"/>
                  <a:gd name="T33" fmla="*/ 9 h 46"/>
                  <a:gd name="T34" fmla="*/ 61 w 135"/>
                  <a:gd name="T35" fmla="*/ 8 h 46"/>
                  <a:gd name="T36" fmla="*/ 40 w 135"/>
                  <a:gd name="T37" fmla="*/ 0 h 46"/>
                  <a:gd name="T38" fmla="*/ 19 w 135"/>
                  <a:gd name="T39" fmla="*/ 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5" h="46">
                    <a:moveTo>
                      <a:pt x="19" y="2"/>
                    </a:moveTo>
                    <a:lnTo>
                      <a:pt x="8" y="7"/>
                    </a:lnTo>
                    <a:lnTo>
                      <a:pt x="0" y="17"/>
                    </a:lnTo>
                    <a:lnTo>
                      <a:pt x="8" y="31"/>
                    </a:lnTo>
                    <a:lnTo>
                      <a:pt x="35" y="31"/>
                    </a:lnTo>
                    <a:lnTo>
                      <a:pt x="45" y="36"/>
                    </a:lnTo>
                    <a:lnTo>
                      <a:pt x="68" y="36"/>
                    </a:lnTo>
                    <a:lnTo>
                      <a:pt x="70" y="45"/>
                    </a:lnTo>
                    <a:lnTo>
                      <a:pt x="112" y="45"/>
                    </a:lnTo>
                    <a:lnTo>
                      <a:pt x="123" y="45"/>
                    </a:lnTo>
                    <a:lnTo>
                      <a:pt x="133" y="45"/>
                    </a:lnTo>
                    <a:lnTo>
                      <a:pt x="134" y="34"/>
                    </a:lnTo>
                    <a:lnTo>
                      <a:pt x="121" y="28"/>
                    </a:lnTo>
                    <a:lnTo>
                      <a:pt x="123" y="17"/>
                    </a:lnTo>
                    <a:lnTo>
                      <a:pt x="110" y="18"/>
                    </a:lnTo>
                    <a:lnTo>
                      <a:pt x="94" y="17"/>
                    </a:lnTo>
                    <a:lnTo>
                      <a:pt x="82" y="9"/>
                    </a:lnTo>
                    <a:lnTo>
                      <a:pt x="61" y="8"/>
                    </a:lnTo>
                    <a:lnTo>
                      <a:pt x="40" y="0"/>
                    </a:lnTo>
                    <a:lnTo>
                      <a:pt x="19" y="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07" name="Freeform 144">
                <a:extLst>
                  <a:ext uri="{FF2B5EF4-FFF2-40B4-BE49-F238E27FC236}">
                    <a16:creationId xmlns:a16="http://schemas.microsoft.com/office/drawing/2014/main" id="{E105ADDE-CCC8-4FF6-9FF6-59AC49808D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3" y="3173"/>
                <a:ext cx="17" cy="15"/>
              </a:xfrm>
              <a:custGeom>
                <a:avLst/>
                <a:gdLst>
                  <a:gd name="T0" fmla="*/ 7 w 15"/>
                  <a:gd name="T1" fmla="*/ 12 h 13"/>
                  <a:gd name="T2" fmla="*/ 4 w 15"/>
                  <a:gd name="T3" fmla="*/ 11 h 13"/>
                  <a:gd name="T4" fmla="*/ 2 w 15"/>
                  <a:gd name="T5" fmla="*/ 11 h 13"/>
                  <a:gd name="T6" fmla="*/ 0 w 15"/>
                  <a:gd name="T7" fmla="*/ 10 h 13"/>
                  <a:gd name="T8" fmla="*/ 0 w 15"/>
                  <a:gd name="T9" fmla="*/ 8 h 13"/>
                  <a:gd name="T10" fmla="*/ 0 w 15"/>
                  <a:gd name="T11" fmla="*/ 6 h 13"/>
                  <a:gd name="T12" fmla="*/ 0 w 15"/>
                  <a:gd name="T13" fmla="*/ 5 h 13"/>
                  <a:gd name="T14" fmla="*/ 0 w 15"/>
                  <a:gd name="T15" fmla="*/ 4 h 13"/>
                  <a:gd name="T16" fmla="*/ 0 w 15"/>
                  <a:gd name="T17" fmla="*/ 3 h 13"/>
                  <a:gd name="T18" fmla="*/ 0 w 15"/>
                  <a:gd name="T19" fmla="*/ 2 h 13"/>
                  <a:gd name="T20" fmla="*/ 0 w 15"/>
                  <a:gd name="T21" fmla="*/ 1 h 13"/>
                  <a:gd name="T22" fmla="*/ 2 w 15"/>
                  <a:gd name="T23" fmla="*/ 0 h 13"/>
                  <a:gd name="T24" fmla="*/ 4 w 15"/>
                  <a:gd name="T25" fmla="*/ 0 h 13"/>
                  <a:gd name="T26" fmla="*/ 7 w 15"/>
                  <a:gd name="T27" fmla="*/ 0 h 13"/>
                  <a:gd name="T28" fmla="*/ 9 w 15"/>
                  <a:gd name="T29" fmla="*/ 0 h 13"/>
                  <a:gd name="T30" fmla="*/ 11 w 15"/>
                  <a:gd name="T31" fmla="*/ 1 h 13"/>
                  <a:gd name="T32" fmla="*/ 11 w 15"/>
                  <a:gd name="T33" fmla="*/ 2 h 13"/>
                  <a:gd name="T34" fmla="*/ 11 w 15"/>
                  <a:gd name="T35" fmla="*/ 3 h 13"/>
                  <a:gd name="T36" fmla="*/ 11 w 15"/>
                  <a:gd name="T37" fmla="*/ 4 h 13"/>
                  <a:gd name="T38" fmla="*/ 14 w 15"/>
                  <a:gd name="T39" fmla="*/ 5 h 13"/>
                  <a:gd name="T40" fmla="*/ 11 w 15"/>
                  <a:gd name="T41" fmla="*/ 5 h 13"/>
                  <a:gd name="T42" fmla="*/ 11 w 15"/>
                  <a:gd name="T43" fmla="*/ 6 h 13"/>
                  <a:gd name="T44" fmla="*/ 11 w 15"/>
                  <a:gd name="T45" fmla="*/ 8 h 13"/>
                  <a:gd name="T46" fmla="*/ 11 w 15"/>
                  <a:gd name="T47" fmla="*/ 10 h 13"/>
                  <a:gd name="T48" fmla="*/ 9 w 15"/>
                  <a:gd name="T49" fmla="*/ 11 h 13"/>
                  <a:gd name="T50" fmla="*/ 7 w 15"/>
                  <a:gd name="T51" fmla="*/ 11 h 13"/>
                  <a:gd name="T52" fmla="*/ 7 w 15"/>
                  <a:gd name="T53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" h="13">
                    <a:moveTo>
                      <a:pt x="7" y="12"/>
                    </a:moveTo>
                    <a:lnTo>
                      <a:pt x="4" y="11"/>
                    </a:lnTo>
                    <a:lnTo>
                      <a:pt x="2" y="11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1" y="1"/>
                    </a:lnTo>
                    <a:lnTo>
                      <a:pt x="11" y="2"/>
                    </a:lnTo>
                    <a:lnTo>
                      <a:pt x="11" y="3"/>
                    </a:lnTo>
                    <a:lnTo>
                      <a:pt x="11" y="4"/>
                    </a:lnTo>
                    <a:lnTo>
                      <a:pt x="14" y="5"/>
                    </a:lnTo>
                    <a:lnTo>
                      <a:pt x="11" y="5"/>
                    </a:lnTo>
                    <a:lnTo>
                      <a:pt x="11" y="6"/>
                    </a:lnTo>
                    <a:lnTo>
                      <a:pt x="11" y="8"/>
                    </a:lnTo>
                    <a:lnTo>
                      <a:pt x="11" y="10"/>
                    </a:lnTo>
                    <a:lnTo>
                      <a:pt x="9" y="11"/>
                    </a:lnTo>
                    <a:lnTo>
                      <a:pt x="7" y="11"/>
                    </a:lnTo>
                    <a:lnTo>
                      <a:pt x="7" y="1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08" name="Freeform 145">
                <a:extLst>
                  <a:ext uri="{FF2B5EF4-FFF2-40B4-BE49-F238E27FC236}">
                    <a16:creationId xmlns:a16="http://schemas.microsoft.com/office/drawing/2014/main" id="{1C4E3ECF-3A83-41C0-A0C6-BB6ADD7F66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8" y="3175"/>
                <a:ext cx="37" cy="16"/>
              </a:xfrm>
              <a:custGeom>
                <a:avLst/>
                <a:gdLst>
                  <a:gd name="T0" fmla="*/ 0 w 33"/>
                  <a:gd name="T1" fmla="*/ 2 h 15"/>
                  <a:gd name="T2" fmla="*/ 17 w 33"/>
                  <a:gd name="T3" fmla="*/ 0 h 15"/>
                  <a:gd name="T4" fmla="*/ 32 w 33"/>
                  <a:gd name="T5" fmla="*/ 6 h 15"/>
                  <a:gd name="T6" fmla="*/ 21 w 33"/>
                  <a:gd name="T7" fmla="*/ 14 h 15"/>
                  <a:gd name="T8" fmla="*/ 3 w 33"/>
                  <a:gd name="T9" fmla="*/ 11 h 15"/>
                  <a:gd name="T10" fmla="*/ 0 w 33"/>
                  <a:gd name="T11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15">
                    <a:moveTo>
                      <a:pt x="0" y="2"/>
                    </a:moveTo>
                    <a:lnTo>
                      <a:pt x="17" y="0"/>
                    </a:lnTo>
                    <a:lnTo>
                      <a:pt x="32" y="6"/>
                    </a:lnTo>
                    <a:lnTo>
                      <a:pt x="21" y="14"/>
                    </a:lnTo>
                    <a:lnTo>
                      <a:pt x="3" y="11"/>
                    </a:lnTo>
                    <a:lnTo>
                      <a:pt x="0" y="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09" name="Freeform 146">
                <a:extLst>
                  <a:ext uri="{FF2B5EF4-FFF2-40B4-BE49-F238E27FC236}">
                    <a16:creationId xmlns:a16="http://schemas.microsoft.com/office/drawing/2014/main" id="{E6CB7016-F9A6-4A91-8945-CB569FBF4F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6" y="3196"/>
                <a:ext cx="20" cy="18"/>
              </a:xfrm>
              <a:custGeom>
                <a:avLst/>
                <a:gdLst>
                  <a:gd name="T0" fmla="*/ 16 w 17"/>
                  <a:gd name="T1" fmla="*/ 0 h 15"/>
                  <a:gd name="T2" fmla="*/ 6 w 17"/>
                  <a:gd name="T3" fmla="*/ 2 h 15"/>
                  <a:gd name="T4" fmla="*/ 0 w 17"/>
                  <a:gd name="T5" fmla="*/ 14 h 15"/>
                  <a:gd name="T6" fmla="*/ 8 w 17"/>
                  <a:gd name="T7" fmla="*/ 14 h 15"/>
                  <a:gd name="T8" fmla="*/ 16 w 17"/>
                  <a:gd name="T9" fmla="*/ 5 h 15"/>
                  <a:gd name="T10" fmla="*/ 16 w 17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15">
                    <a:moveTo>
                      <a:pt x="16" y="0"/>
                    </a:moveTo>
                    <a:lnTo>
                      <a:pt x="6" y="2"/>
                    </a:lnTo>
                    <a:lnTo>
                      <a:pt x="0" y="14"/>
                    </a:lnTo>
                    <a:lnTo>
                      <a:pt x="8" y="14"/>
                    </a:lnTo>
                    <a:lnTo>
                      <a:pt x="16" y="5"/>
                    </a:lnTo>
                    <a:lnTo>
                      <a:pt x="16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10" name="Freeform 147">
                <a:extLst>
                  <a:ext uri="{FF2B5EF4-FFF2-40B4-BE49-F238E27FC236}">
                    <a16:creationId xmlns:a16="http://schemas.microsoft.com/office/drawing/2014/main" id="{DD620191-1D22-4F22-AC71-28AB57E072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1" y="2987"/>
                <a:ext cx="108" cy="140"/>
              </a:xfrm>
              <a:custGeom>
                <a:avLst/>
                <a:gdLst>
                  <a:gd name="T0" fmla="*/ 24 w 97"/>
                  <a:gd name="T1" fmla="*/ 17 h 124"/>
                  <a:gd name="T2" fmla="*/ 21 w 97"/>
                  <a:gd name="T3" fmla="*/ 36 h 124"/>
                  <a:gd name="T4" fmla="*/ 14 w 97"/>
                  <a:gd name="T5" fmla="*/ 46 h 124"/>
                  <a:gd name="T6" fmla="*/ 11 w 97"/>
                  <a:gd name="T7" fmla="*/ 60 h 124"/>
                  <a:gd name="T8" fmla="*/ 0 w 97"/>
                  <a:gd name="T9" fmla="*/ 68 h 124"/>
                  <a:gd name="T10" fmla="*/ 0 w 97"/>
                  <a:gd name="T11" fmla="*/ 94 h 124"/>
                  <a:gd name="T12" fmla="*/ 13 w 97"/>
                  <a:gd name="T13" fmla="*/ 100 h 124"/>
                  <a:gd name="T14" fmla="*/ 15 w 97"/>
                  <a:gd name="T15" fmla="*/ 118 h 124"/>
                  <a:gd name="T16" fmla="*/ 27 w 97"/>
                  <a:gd name="T17" fmla="*/ 120 h 124"/>
                  <a:gd name="T18" fmla="*/ 32 w 97"/>
                  <a:gd name="T19" fmla="*/ 92 h 124"/>
                  <a:gd name="T20" fmla="*/ 42 w 97"/>
                  <a:gd name="T21" fmla="*/ 89 h 124"/>
                  <a:gd name="T22" fmla="*/ 42 w 97"/>
                  <a:gd name="T23" fmla="*/ 112 h 124"/>
                  <a:gd name="T24" fmla="*/ 53 w 97"/>
                  <a:gd name="T25" fmla="*/ 115 h 124"/>
                  <a:gd name="T26" fmla="*/ 56 w 97"/>
                  <a:gd name="T27" fmla="*/ 123 h 124"/>
                  <a:gd name="T28" fmla="*/ 69 w 97"/>
                  <a:gd name="T29" fmla="*/ 120 h 124"/>
                  <a:gd name="T30" fmla="*/ 68 w 97"/>
                  <a:gd name="T31" fmla="*/ 104 h 124"/>
                  <a:gd name="T32" fmla="*/ 49 w 97"/>
                  <a:gd name="T33" fmla="*/ 72 h 124"/>
                  <a:gd name="T34" fmla="*/ 59 w 97"/>
                  <a:gd name="T35" fmla="*/ 64 h 124"/>
                  <a:gd name="T36" fmla="*/ 68 w 97"/>
                  <a:gd name="T37" fmla="*/ 48 h 124"/>
                  <a:gd name="T38" fmla="*/ 61 w 97"/>
                  <a:gd name="T39" fmla="*/ 42 h 124"/>
                  <a:gd name="T40" fmla="*/ 51 w 97"/>
                  <a:gd name="T41" fmla="*/ 47 h 124"/>
                  <a:gd name="T42" fmla="*/ 42 w 97"/>
                  <a:gd name="T43" fmla="*/ 52 h 124"/>
                  <a:gd name="T44" fmla="*/ 35 w 97"/>
                  <a:gd name="T45" fmla="*/ 33 h 124"/>
                  <a:gd name="T46" fmla="*/ 32 w 97"/>
                  <a:gd name="T47" fmla="*/ 15 h 124"/>
                  <a:gd name="T48" fmla="*/ 40 w 97"/>
                  <a:gd name="T49" fmla="*/ 18 h 124"/>
                  <a:gd name="T50" fmla="*/ 49 w 97"/>
                  <a:gd name="T51" fmla="*/ 25 h 124"/>
                  <a:gd name="T52" fmla="*/ 64 w 97"/>
                  <a:gd name="T53" fmla="*/ 21 h 124"/>
                  <a:gd name="T54" fmla="*/ 71 w 97"/>
                  <a:gd name="T55" fmla="*/ 26 h 124"/>
                  <a:gd name="T56" fmla="*/ 88 w 97"/>
                  <a:gd name="T57" fmla="*/ 21 h 124"/>
                  <a:gd name="T58" fmla="*/ 96 w 97"/>
                  <a:gd name="T59" fmla="*/ 17 h 124"/>
                  <a:gd name="T60" fmla="*/ 93 w 97"/>
                  <a:gd name="T61" fmla="*/ 0 h 124"/>
                  <a:gd name="T62" fmla="*/ 83 w 97"/>
                  <a:gd name="T63" fmla="*/ 0 h 124"/>
                  <a:gd name="T64" fmla="*/ 77 w 97"/>
                  <a:gd name="T65" fmla="*/ 12 h 124"/>
                  <a:gd name="T66" fmla="*/ 45 w 97"/>
                  <a:gd name="T67" fmla="*/ 9 h 124"/>
                  <a:gd name="T68" fmla="*/ 26 w 97"/>
                  <a:gd name="T69" fmla="*/ 10 h 124"/>
                  <a:gd name="T70" fmla="*/ 24 w 97"/>
                  <a:gd name="T71" fmla="*/ 17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7" h="124">
                    <a:moveTo>
                      <a:pt x="24" y="17"/>
                    </a:moveTo>
                    <a:lnTo>
                      <a:pt x="21" y="36"/>
                    </a:lnTo>
                    <a:lnTo>
                      <a:pt x="14" y="46"/>
                    </a:lnTo>
                    <a:lnTo>
                      <a:pt x="11" y="60"/>
                    </a:lnTo>
                    <a:lnTo>
                      <a:pt x="0" y="68"/>
                    </a:lnTo>
                    <a:lnTo>
                      <a:pt x="0" y="94"/>
                    </a:lnTo>
                    <a:lnTo>
                      <a:pt x="13" y="100"/>
                    </a:lnTo>
                    <a:lnTo>
                      <a:pt x="15" y="118"/>
                    </a:lnTo>
                    <a:lnTo>
                      <a:pt x="27" y="120"/>
                    </a:lnTo>
                    <a:lnTo>
                      <a:pt x="32" y="92"/>
                    </a:lnTo>
                    <a:lnTo>
                      <a:pt x="42" y="89"/>
                    </a:lnTo>
                    <a:lnTo>
                      <a:pt x="42" y="112"/>
                    </a:lnTo>
                    <a:lnTo>
                      <a:pt x="53" y="115"/>
                    </a:lnTo>
                    <a:lnTo>
                      <a:pt x="56" y="123"/>
                    </a:lnTo>
                    <a:lnTo>
                      <a:pt x="69" y="120"/>
                    </a:lnTo>
                    <a:lnTo>
                      <a:pt x="68" y="104"/>
                    </a:lnTo>
                    <a:lnTo>
                      <a:pt x="49" y="72"/>
                    </a:lnTo>
                    <a:lnTo>
                      <a:pt x="59" y="64"/>
                    </a:lnTo>
                    <a:lnTo>
                      <a:pt x="68" y="48"/>
                    </a:lnTo>
                    <a:lnTo>
                      <a:pt x="61" y="42"/>
                    </a:lnTo>
                    <a:lnTo>
                      <a:pt x="51" y="47"/>
                    </a:lnTo>
                    <a:lnTo>
                      <a:pt x="42" y="52"/>
                    </a:lnTo>
                    <a:lnTo>
                      <a:pt x="35" y="33"/>
                    </a:lnTo>
                    <a:lnTo>
                      <a:pt x="32" y="15"/>
                    </a:lnTo>
                    <a:lnTo>
                      <a:pt x="40" y="18"/>
                    </a:lnTo>
                    <a:lnTo>
                      <a:pt x="49" y="25"/>
                    </a:lnTo>
                    <a:lnTo>
                      <a:pt x="64" y="21"/>
                    </a:lnTo>
                    <a:lnTo>
                      <a:pt x="71" y="26"/>
                    </a:lnTo>
                    <a:lnTo>
                      <a:pt x="88" y="21"/>
                    </a:lnTo>
                    <a:lnTo>
                      <a:pt x="96" y="17"/>
                    </a:lnTo>
                    <a:lnTo>
                      <a:pt x="93" y="0"/>
                    </a:lnTo>
                    <a:lnTo>
                      <a:pt x="83" y="0"/>
                    </a:lnTo>
                    <a:lnTo>
                      <a:pt x="77" y="12"/>
                    </a:lnTo>
                    <a:lnTo>
                      <a:pt x="45" y="9"/>
                    </a:lnTo>
                    <a:lnTo>
                      <a:pt x="26" y="10"/>
                    </a:lnTo>
                    <a:lnTo>
                      <a:pt x="24" y="17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11" name="Freeform 148">
                <a:extLst>
                  <a:ext uri="{FF2B5EF4-FFF2-40B4-BE49-F238E27FC236}">
                    <a16:creationId xmlns:a16="http://schemas.microsoft.com/office/drawing/2014/main" id="{86087D1E-AE2F-43EB-AD61-EBAB8C101E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5" y="2752"/>
                <a:ext cx="92" cy="80"/>
              </a:xfrm>
              <a:custGeom>
                <a:avLst/>
                <a:gdLst>
                  <a:gd name="T0" fmla="*/ 34 w 83"/>
                  <a:gd name="T1" fmla="*/ 60 h 71"/>
                  <a:gd name="T2" fmla="*/ 15 w 83"/>
                  <a:gd name="T3" fmla="*/ 64 h 71"/>
                  <a:gd name="T4" fmla="*/ 13 w 83"/>
                  <a:gd name="T5" fmla="*/ 41 h 71"/>
                  <a:gd name="T6" fmla="*/ 0 w 83"/>
                  <a:gd name="T7" fmla="*/ 30 h 71"/>
                  <a:gd name="T8" fmla="*/ 6 w 83"/>
                  <a:gd name="T9" fmla="*/ 13 h 71"/>
                  <a:gd name="T10" fmla="*/ 21 w 83"/>
                  <a:gd name="T11" fmla="*/ 0 h 71"/>
                  <a:gd name="T12" fmla="*/ 34 w 83"/>
                  <a:gd name="T13" fmla="*/ 8 h 71"/>
                  <a:gd name="T14" fmla="*/ 50 w 83"/>
                  <a:gd name="T15" fmla="*/ 6 h 71"/>
                  <a:gd name="T16" fmla="*/ 60 w 83"/>
                  <a:gd name="T17" fmla="*/ 17 h 71"/>
                  <a:gd name="T18" fmla="*/ 74 w 83"/>
                  <a:gd name="T19" fmla="*/ 6 h 71"/>
                  <a:gd name="T20" fmla="*/ 80 w 83"/>
                  <a:gd name="T21" fmla="*/ 11 h 71"/>
                  <a:gd name="T22" fmla="*/ 82 w 83"/>
                  <a:gd name="T23" fmla="*/ 38 h 71"/>
                  <a:gd name="T24" fmla="*/ 73 w 83"/>
                  <a:gd name="T25" fmla="*/ 46 h 71"/>
                  <a:gd name="T26" fmla="*/ 58 w 83"/>
                  <a:gd name="T27" fmla="*/ 60 h 71"/>
                  <a:gd name="T28" fmla="*/ 44 w 83"/>
                  <a:gd name="T29" fmla="*/ 70 h 71"/>
                  <a:gd name="T30" fmla="*/ 34 w 83"/>
                  <a:gd name="T31" fmla="*/ 6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3" h="71">
                    <a:moveTo>
                      <a:pt x="34" y="60"/>
                    </a:moveTo>
                    <a:lnTo>
                      <a:pt x="15" y="64"/>
                    </a:lnTo>
                    <a:lnTo>
                      <a:pt x="13" y="41"/>
                    </a:lnTo>
                    <a:lnTo>
                      <a:pt x="0" y="30"/>
                    </a:lnTo>
                    <a:lnTo>
                      <a:pt x="6" y="13"/>
                    </a:lnTo>
                    <a:lnTo>
                      <a:pt x="21" y="0"/>
                    </a:lnTo>
                    <a:lnTo>
                      <a:pt x="34" y="8"/>
                    </a:lnTo>
                    <a:lnTo>
                      <a:pt x="50" y="6"/>
                    </a:lnTo>
                    <a:lnTo>
                      <a:pt x="60" y="17"/>
                    </a:lnTo>
                    <a:lnTo>
                      <a:pt x="74" y="6"/>
                    </a:lnTo>
                    <a:lnTo>
                      <a:pt x="80" y="11"/>
                    </a:lnTo>
                    <a:lnTo>
                      <a:pt x="82" y="38"/>
                    </a:lnTo>
                    <a:lnTo>
                      <a:pt x="73" y="46"/>
                    </a:lnTo>
                    <a:lnTo>
                      <a:pt x="58" y="60"/>
                    </a:lnTo>
                    <a:lnTo>
                      <a:pt x="44" y="70"/>
                    </a:lnTo>
                    <a:lnTo>
                      <a:pt x="34" y="6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12" name="Freeform 149">
                <a:extLst>
                  <a:ext uri="{FF2B5EF4-FFF2-40B4-BE49-F238E27FC236}">
                    <a16:creationId xmlns:a16="http://schemas.microsoft.com/office/drawing/2014/main" id="{5255CFDA-42B1-4CC9-B7E9-34F06DCC8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8" y="2603"/>
                <a:ext cx="119" cy="170"/>
              </a:xfrm>
              <a:custGeom>
                <a:avLst/>
                <a:gdLst>
                  <a:gd name="T0" fmla="*/ 0 w 106"/>
                  <a:gd name="T1" fmla="*/ 23 h 152"/>
                  <a:gd name="T2" fmla="*/ 3 w 106"/>
                  <a:gd name="T3" fmla="*/ 36 h 152"/>
                  <a:gd name="T4" fmla="*/ 6 w 106"/>
                  <a:gd name="T5" fmla="*/ 50 h 152"/>
                  <a:gd name="T6" fmla="*/ 13 w 106"/>
                  <a:gd name="T7" fmla="*/ 57 h 152"/>
                  <a:gd name="T8" fmla="*/ 24 w 106"/>
                  <a:gd name="T9" fmla="*/ 61 h 152"/>
                  <a:gd name="T10" fmla="*/ 38 w 106"/>
                  <a:gd name="T11" fmla="*/ 81 h 152"/>
                  <a:gd name="T12" fmla="*/ 50 w 106"/>
                  <a:gd name="T13" fmla="*/ 71 h 152"/>
                  <a:gd name="T14" fmla="*/ 60 w 106"/>
                  <a:gd name="T15" fmla="*/ 84 h 152"/>
                  <a:gd name="T16" fmla="*/ 68 w 106"/>
                  <a:gd name="T17" fmla="*/ 103 h 152"/>
                  <a:gd name="T18" fmla="*/ 73 w 106"/>
                  <a:gd name="T19" fmla="*/ 114 h 152"/>
                  <a:gd name="T20" fmla="*/ 81 w 106"/>
                  <a:gd name="T21" fmla="*/ 116 h 152"/>
                  <a:gd name="T22" fmla="*/ 81 w 106"/>
                  <a:gd name="T23" fmla="*/ 140 h 152"/>
                  <a:gd name="T24" fmla="*/ 91 w 106"/>
                  <a:gd name="T25" fmla="*/ 151 h 152"/>
                  <a:gd name="T26" fmla="*/ 105 w 106"/>
                  <a:gd name="T27" fmla="*/ 140 h 152"/>
                  <a:gd name="T28" fmla="*/ 105 w 106"/>
                  <a:gd name="T29" fmla="*/ 111 h 152"/>
                  <a:gd name="T30" fmla="*/ 92 w 106"/>
                  <a:gd name="T31" fmla="*/ 102 h 152"/>
                  <a:gd name="T32" fmla="*/ 71 w 106"/>
                  <a:gd name="T33" fmla="*/ 69 h 152"/>
                  <a:gd name="T34" fmla="*/ 60 w 106"/>
                  <a:gd name="T35" fmla="*/ 58 h 152"/>
                  <a:gd name="T36" fmla="*/ 65 w 106"/>
                  <a:gd name="T37" fmla="*/ 42 h 152"/>
                  <a:gd name="T38" fmla="*/ 62 w 106"/>
                  <a:gd name="T39" fmla="*/ 32 h 152"/>
                  <a:gd name="T40" fmla="*/ 37 w 106"/>
                  <a:gd name="T41" fmla="*/ 23 h 152"/>
                  <a:gd name="T42" fmla="*/ 29 w 106"/>
                  <a:gd name="T43" fmla="*/ 0 h 152"/>
                  <a:gd name="T44" fmla="*/ 18 w 106"/>
                  <a:gd name="T45" fmla="*/ 6 h 152"/>
                  <a:gd name="T46" fmla="*/ 19 w 106"/>
                  <a:gd name="T47" fmla="*/ 20 h 152"/>
                  <a:gd name="T48" fmla="*/ 0 w 106"/>
                  <a:gd name="T49" fmla="*/ 23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6" h="152">
                    <a:moveTo>
                      <a:pt x="0" y="23"/>
                    </a:moveTo>
                    <a:lnTo>
                      <a:pt x="3" y="36"/>
                    </a:lnTo>
                    <a:lnTo>
                      <a:pt x="6" y="50"/>
                    </a:lnTo>
                    <a:lnTo>
                      <a:pt x="13" y="57"/>
                    </a:lnTo>
                    <a:lnTo>
                      <a:pt x="24" y="61"/>
                    </a:lnTo>
                    <a:lnTo>
                      <a:pt x="38" y="81"/>
                    </a:lnTo>
                    <a:lnTo>
                      <a:pt x="50" y="71"/>
                    </a:lnTo>
                    <a:lnTo>
                      <a:pt x="60" y="84"/>
                    </a:lnTo>
                    <a:lnTo>
                      <a:pt x="68" y="103"/>
                    </a:lnTo>
                    <a:lnTo>
                      <a:pt x="73" y="114"/>
                    </a:lnTo>
                    <a:lnTo>
                      <a:pt x="81" y="116"/>
                    </a:lnTo>
                    <a:lnTo>
                      <a:pt x="81" y="140"/>
                    </a:lnTo>
                    <a:lnTo>
                      <a:pt x="91" y="151"/>
                    </a:lnTo>
                    <a:lnTo>
                      <a:pt x="105" y="140"/>
                    </a:lnTo>
                    <a:lnTo>
                      <a:pt x="105" y="111"/>
                    </a:lnTo>
                    <a:lnTo>
                      <a:pt x="92" y="102"/>
                    </a:lnTo>
                    <a:lnTo>
                      <a:pt x="71" y="69"/>
                    </a:lnTo>
                    <a:lnTo>
                      <a:pt x="60" y="58"/>
                    </a:lnTo>
                    <a:lnTo>
                      <a:pt x="65" y="42"/>
                    </a:lnTo>
                    <a:lnTo>
                      <a:pt x="62" y="32"/>
                    </a:lnTo>
                    <a:lnTo>
                      <a:pt x="37" y="23"/>
                    </a:lnTo>
                    <a:lnTo>
                      <a:pt x="29" y="0"/>
                    </a:lnTo>
                    <a:lnTo>
                      <a:pt x="18" y="6"/>
                    </a:lnTo>
                    <a:lnTo>
                      <a:pt x="19" y="20"/>
                    </a:lnTo>
                    <a:lnTo>
                      <a:pt x="0" y="2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13" name="Freeform 150">
                <a:extLst>
                  <a:ext uri="{FF2B5EF4-FFF2-40B4-BE49-F238E27FC236}">
                    <a16:creationId xmlns:a16="http://schemas.microsoft.com/office/drawing/2014/main" id="{FA9F9563-A65E-4405-9D63-9BF15C578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9" y="2969"/>
                <a:ext cx="29" cy="60"/>
              </a:xfrm>
              <a:custGeom>
                <a:avLst/>
                <a:gdLst>
                  <a:gd name="T0" fmla="*/ 13 w 26"/>
                  <a:gd name="T1" fmla="*/ 21 h 54"/>
                  <a:gd name="T2" fmla="*/ 0 w 26"/>
                  <a:gd name="T3" fmla="*/ 27 h 54"/>
                  <a:gd name="T4" fmla="*/ 4 w 26"/>
                  <a:gd name="T5" fmla="*/ 43 h 54"/>
                  <a:gd name="T6" fmla="*/ 19 w 26"/>
                  <a:gd name="T7" fmla="*/ 53 h 54"/>
                  <a:gd name="T8" fmla="*/ 24 w 26"/>
                  <a:gd name="T9" fmla="*/ 32 h 54"/>
                  <a:gd name="T10" fmla="*/ 25 w 26"/>
                  <a:gd name="T11" fmla="*/ 14 h 54"/>
                  <a:gd name="T12" fmla="*/ 20 w 26"/>
                  <a:gd name="T13" fmla="*/ 0 h 54"/>
                  <a:gd name="T14" fmla="*/ 13 w 26"/>
                  <a:gd name="T15" fmla="*/ 6 h 54"/>
                  <a:gd name="T16" fmla="*/ 13 w 26"/>
                  <a:gd name="T17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54">
                    <a:moveTo>
                      <a:pt x="13" y="21"/>
                    </a:moveTo>
                    <a:lnTo>
                      <a:pt x="0" y="27"/>
                    </a:lnTo>
                    <a:lnTo>
                      <a:pt x="4" y="43"/>
                    </a:lnTo>
                    <a:lnTo>
                      <a:pt x="19" y="53"/>
                    </a:lnTo>
                    <a:lnTo>
                      <a:pt x="24" y="32"/>
                    </a:lnTo>
                    <a:lnTo>
                      <a:pt x="25" y="14"/>
                    </a:lnTo>
                    <a:lnTo>
                      <a:pt x="20" y="0"/>
                    </a:lnTo>
                    <a:lnTo>
                      <a:pt x="13" y="6"/>
                    </a:lnTo>
                    <a:lnTo>
                      <a:pt x="13" y="21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14" name="Freeform 151">
                <a:extLst>
                  <a:ext uri="{FF2B5EF4-FFF2-40B4-BE49-F238E27FC236}">
                    <a16:creationId xmlns:a16="http://schemas.microsoft.com/office/drawing/2014/main" id="{15472B97-B200-476E-BAA3-46BB5631A5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3069"/>
                <a:ext cx="40" cy="19"/>
              </a:xfrm>
              <a:custGeom>
                <a:avLst/>
                <a:gdLst>
                  <a:gd name="T0" fmla="*/ 4 w 35"/>
                  <a:gd name="T1" fmla="*/ 3 h 18"/>
                  <a:gd name="T2" fmla="*/ 16 w 35"/>
                  <a:gd name="T3" fmla="*/ 0 h 18"/>
                  <a:gd name="T4" fmla="*/ 27 w 35"/>
                  <a:gd name="T5" fmla="*/ 0 h 18"/>
                  <a:gd name="T6" fmla="*/ 33 w 35"/>
                  <a:gd name="T7" fmla="*/ 9 h 18"/>
                  <a:gd name="T8" fmla="*/ 34 w 35"/>
                  <a:gd name="T9" fmla="*/ 17 h 18"/>
                  <a:gd name="T10" fmla="*/ 23 w 35"/>
                  <a:gd name="T11" fmla="*/ 12 h 18"/>
                  <a:gd name="T12" fmla="*/ 12 w 35"/>
                  <a:gd name="T13" fmla="*/ 9 h 18"/>
                  <a:gd name="T14" fmla="*/ 0 w 35"/>
                  <a:gd name="T15" fmla="*/ 12 h 18"/>
                  <a:gd name="T16" fmla="*/ 4 w 35"/>
                  <a:gd name="T17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18">
                    <a:moveTo>
                      <a:pt x="4" y="3"/>
                    </a:moveTo>
                    <a:lnTo>
                      <a:pt x="16" y="0"/>
                    </a:lnTo>
                    <a:lnTo>
                      <a:pt x="27" y="0"/>
                    </a:lnTo>
                    <a:lnTo>
                      <a:pt x="33" y="9"/>
                    </a:lnTo>
                    <a:lnTo>
                      <a:pt x="34" y="17"/>
                    </a:lnTo>
                    <a:lnTo>
                      <a:pt x="23" y="12"/>
                    </a:lnTo>
                    <a:lnTo>
                      <a:pt x="12" y="9"/>
                    </a:lnTo>
                    <a:lnTo>
                      <a:pt x="0" y="12"/>
                    </a:lnTo>
                    <a:lnTo>
                      <a:pt x="4" y="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15" name="Freeform 152">
                <a:extLst>
                  <a:ext uri="{FF2B5EF4-FFF2-40B4-BE49-F238E27FC236}">
                    <a16:creationId xmlns:a16="http://schemas.microsoft.com/office/drawing/2014/main" id="{FF44EA2E-1BCA-4292-9668-EA9CF90560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6" y="3439"/>
                <a:ext cx="266" cy="249"/>
              </a:xfrm>
              <a:custGeom>
                <a:avLst/>
                <a:gdLst>
                  <a:gd name="T0" fmla="*/ 217 w 237"/>
                  <a:gd name="T1" fmla="*/ 9 h 221"/>
                  <a:gd name="T2" fmla="*/ 201 w 237"/>
                  <a:gd name="T3" fmla="*/ 9 h 221"/>
                  <a:gd name="T4" fmla="*/ 197 w 237"/>
                  <a:gd name="T5" fmla="*/ 4 h 221"/>
                  <a:gd name="T6" fmla="*/ 187 w 237"/>
                  <a:gd name="T7" fmla="*/ 0 h 221"/>
                  <a:gd name="T8" fmla="*/ 184 w 237"/>
                  <a:gd name="T9" fmla="*/ 8 h 221"/>
                  <a:gd name="T10" fmla="*/ 175 w 237"/>
                  <a:gd name="T11" fmla="*/ 15 h 221"/>
                  <a:gd name="T12" fmla="*/ 167 w 237"/>
                  <a:gd name="T13" fmla="*/ 25 h 221"/>
                  <a:gd name="T14" fmla="*/ 156 w 237"/>
                  <a:gd name="T15" fmla="*/ 30 h 221"/>
                  <a:gd name="T16" fmla="*/ 151 w 237"/>
                  <a:gd name="T17" fmla="*/ 44 h 221"/>
                  <a:gd name="T18" fmla="*/ 143 w 237"/>
                  <a:gd name="T19" fmla="*/ 47 h 221"/>
                  <a:gd name="T20" fmla="*/ 137 w 237"/>
                  <a:gd name="T21" fmla="*/ 55 h 221"/>
                  <a:gd name="T22" fmla="*/ 128 w 237"/>
                  <a:gd name="T23" fmla="*/ 65 h 221"/>
                  <a:gd name="T24" fmla="*/ 114 w 237"/>
                  <a:gd name="T25" fmla="*/ 65 h 221"/>
                  <a:gd name="T26" fmla="*/ 105 w 237"/>
                  <a:gd name="T27" fmla="*/ 59 h 221"/>
                  <a:gd name="T28" fmla="*/ 96 w 237"/>
                  <a:gd name="T29" fmla="*/ 59 h 221"/>
                  <a:gd name="T30" fmla="*/ 91 w 237"/>
                  <a:gd name="T31" fmla="*/ 66 h 221"/>
                  <a:gd name="T32" fmla="*/ 88 w 237"/>
                  <a:gd name="T33" fmla="*/ 76 h 221"/>
                  <a:gd name="T34" fmla="*/ 80 w 237"/>
                  <a:gd name="T35" fmla="*/ 81 h 221"/>
                  <a:gd name="T36" fmla="*/ 61 w 237"/>
                  <a:gd name="T37" fmla="*/ 76 h 221"/>
                  <a:gd name="T38" fmla="*/ 57 w 237"/>
                  <a:gd name="T39" fmla="*/ 61 h 221"/>
                  <a:gd name="T40" fmla="*/ 52 w 237"/>
                  <a:gd name="T41" fmla="*/ 54 h 221"/>
                  <a:gd name="T42" fmla="*/ 47 w 237"/>
                  <a:gd name="T43" fmla="*/ 110 h 221"/>
                  <a:gd name="T44" fmla="*/ 40 w 237"/>
                  <a:gd name="T45" fmla="*/ 120 h 221"/>
                  <a:gd name="T46" fmla="*/ 20 w 237"/>
                  <a:gd name="T47" fmla="*/ 117 h 221"/>
                  <a:gd name="T48" fmla="*/ 14 w 237"/>
                  <a:gd name="T49" fmla="*/ 105 h 221"/>
                  <a:gd name="T50" fmla="*/ 10 w 237"/>
                  <a:gd name="T51" fmla="*/ 110 h 221"/>
                  <a:gd name="T52" fmla="*/ 0 w 237"/>
                  <a:gd name="T53" fmla="*/ 111 h 221"/>
                  <a:gd name="T54" fmla="*/ 3 w 237"/>
                  <a:gd name="T55" fmla="*/ 118 h 221"/>
                  <a:gd name="T56" fmla="*/ 3 w 237"/>
                  <a:gd name="T57" fmla="*/ 134 h 221"/>
                  <a:gd name="T58" fmla="*/ 13 w 237"/>
                  <a:gd name="T59" fmla="*/ 138 h 221"/>
                  <a:gd name="T60" fmla="*/ 14 w 237"/>
                  <a:gd name="T61" fmla="*/ 157 h 221"/>
                  <a:gd name="T62" fmla="*/ 20 w 237"/>
                  <a:gd name="T63" fmla="*/ 160 h 221"/>
                  <a:gd name="T64" fmla="*/ 20 w 237"/>
                  <a:gd name="T65" fmla="*/ 166 h 221"/>
                  <a:gd name="T66" fmla="*/ 27 w 237"/>
                  <a:gd name="T67" fmla="*/ 166 h 221"/>
                  <a:gd name="T68" fmla="*/ 25 w 237"/>
                  <a:gd name="T69" fmla="*/ 178 h 221"/>
                  <a:gd name="T70" fmla="*/ 17 w 237"/>
                  <a:gd name="T71" fmla="*/ 184 h 221"/>
                  <a:gd name="T72" fmla="*/ 43 w 237"/>
                  <a:gd name="T73" fmla="*/ 218 h 221"/>
                  <a:gd name="T74" fmla="*/ 61 w 237"/>
                  <a:gd name="T75" fmla="*/ 220 h 221"/>
                  <a:gd name="T76" fmla="*/ 70 w 237"/>
                  <a:gd name="T77" fmla="*/ 214 h 221"/>
                  <a:gd name="T78" fmla="*/ 78 w 237"/>
                  <a:gd name="T79" fmla="*/ 203 h 221"/>
                  <a:gd name="T80" fmla="*/ 108 w 237"/>
                  <a:gd name="T81" fmla="*/ 204 h 221"/>
                  <a:gd name="T82" fmla="*/ 111 w 237"/>
                  <a:gd name="T83" fmla="*/ 209 h 221"/>
                  <a:gd name="T84" fmla="*/ 128 w 237"/>
                  <a:gd name="T85" fmla="*/ 202 h 221"/>
                  <a:gd name="T86" fmla="*/ 135 w 237"/>
                  <a:gd name="T87" fmla="*/ 196 h 221"/>
                  <a:gd name="T88" fmla="*/ 156 w 237"/>
                  <a:gd name="T89" fmla="*/ 193 h 221"/>
                  <a:gd name="T90" fmla="*/ 167 w 237"/>
                  <a:gd name="T91" fmla="*/ 186 h 221"/>
                  <a:gd name="T92" fmla="*/ 178 w 237"/>
                  <a:gd name="T93" fmla="*/ 167 h 221"/>
                  <a:gd name="T94" fmla="*/ 190 w 237"/>
                  <a:gd name="T95" fmla="*/ 158 h 221"/>
                  <a:gd name="T96" fmla="*/ 209 w 237"/>
                  <a:gd name="T97" fmla="*/ 142 h 221"/>
                  <a:gd name="T98" fmla="*/ 212 w 237"/>
                  <a:gd name="T99" fmla="*/ 125 h 221"/>
                  <a:gd name="T100" fmla="*/ 217 w 237"/>
                  <a:gd name="T101" fmla="*/ 110 h 221"/>
                  <a:gd name="T102" fmla="*/ 228 w 237"/>
                  <a:gd name="T103" fmla="*/ 109 h 221"/>
                  <a:gd name="T104" fmla="*/ 236 w 237"/>
                  <a:gd name="T105" fmla="*/ 93 h 221"/>
                  <a:gd name="T106" fmla="*/ 224 w 237"/>
                  <a:gd name="T107" fmla="*/ 88 h 221"/>
                  <a:gd name="T108" fmla="*/ 222 w 237"/>
                  <a:gd name="T109" fmla="*/ 76 h 221"/>
                  <a:gd name="T110" fmla="*/ 216 w 237"/>
                  <a:gd name="T111" fmla="*/ 66 h 221"/>
                  <a:gd name="T112" fmla="*/ 217 w 237"/>
                  <a:gd name="T113" fmla="*/ 52 h 221"/>
                  <a:gd name="T114" fmla="*/ 217 w 237"/>
                  <a:gd name="T115" fmla="*/ 34 h 221"/>
                  <a:gd name="T116" fmla="*/ 217 w 237"/>
                  <a:gd name="T117" fmla="*/ 9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7" h="221">
                    <a:moveTo>
                      <a:pt x="217" y="9"/>
                    </a:moveTo>
                    <a:lnTo>
                      <a:pt x="201" y="9"/>
                    </a:lnTo>
                    <a:lnTo>
                      <a:pt x="197" y="4"/>
                    </a:lnTo>
                    <a:lnTo>
                      <a:pt x="187" y="0"/>
                    </a:lnTo>
                    <a:lnTo>
                      <a:pt x="184" y="8"/>
                    </a:lnTo>
                    <a:lnTo>
                      <a:pt x="175" y="15"/>
                    </a:lnTo>
                    <a:lnTo>
                      <a:pt x="167" y="25"/>
                    </a:lnTo>
                    <a:lnTo>
                      <a:pt x="156" y="30"/>
                    </a:lnTo>
                    <a:lnTo>
                      <a:pt x="151" y="44"/>
                    </a:lnTo>
                    <a:lnTo>
                      <a:pt x="143" y="47"/>
                    </a:lnTo>
                    <a:lnTo>
                      <a:pt x="137" y="55"/>
                    </a:lnTo>
                    <a:lnTo>
                      <a:pt x="128" y="65"/>
                    </a:lnTo>
                    <a:lnTo>
                      <a:pt x="114" y="65"/>
                    </a:lnTo>
                    <a:lnTo>
                      <a:pt x="105" y="59"/>
                    </a:lnTo>
                    <a:lnTo>
                      <a:pt x="96" y="59"/>
                    </a:lnTo>
                    <a:lnTo>
                      <a:pt x="91" y="66"/>
                    </a:lnTo>
                    <a:lnTo>
                      <a:pt x="88" y="76"/>
                    </a:lnTo>
                    <a:lnTo>
                      <a:pt x="80" y="81"/>
                    </a:lnTo>
                    <a:lnTo>
                      <a:pt x="61" y="76"/>
                    </a:lnTo>
                    <a:lnTo>
                      <a:pt x="57" y="61"/>
                    </a:lnTo>
                    <a:lnTo>
                      <a:pt x="52" y="54"/>
                    </a:lnTo>
                    <a:lnTo>
                      <a:pt x="47" y="110"/>
                    </a:lnTo>
                    <a:lnTo>
                      <a:pt x="40" y="120"/>
                    </a:lnTo>
                    <a:lnTo>
                      <a:pt x="20" y="117"/>
                    </a:lnTo>
                    <a:lnTo>
                      <a:pt x="14" y="105"/>
                    </a:lnTo>
                    <a:lnTo>
                      <a:pt x="10" y="110"/>
                    </a:lnTo>
                    <a:lnTo>
                      <a:pt x="0" y="111"/>
                    </a:lnTo>
                    <a:lnTo>
                      <a:pt x="3" y="118"/>
                    </a:lnTo>
                    <a:lnTo>
                      <a:pt x="3" y="134"/>
                    </a:lnTo>
                    <a:lnTo>
                      <a:pt x="13" y="138"/>
                    </a:lnTo>
                    <a:lnTo>
                      <a:pt x="14" y="157"/>
                    </a:lnTo>
                    <a:lnTo>
                      <a:pt x="20" y="160"/>
                    </a:lnTo>
                    <a:lnTo>
                      <a:pt x="20" y="166"/>
                    </a:lnTo>
                    <a:lnTo>
                      <a:pt x="27" y="166"/>
                    </a:lnTo>
                    <a:lnTo>
                      <a:pt x="25" y="178"/>
                    </a:lnTo>
                    <a:lnTo>
                      <a:pt x="17" y="184"/>
                    </a:lnTo>
                    <a:lnTo>
                      <a:pt x="43" y="218"/>
                    </a:lnTo>
                    <a:lnTo>
                      <a:pt x="61" y="220"/>
                    </a:lnTo>
                    <a:lnTo>
                      <a:pt x="70" y="214"/>
                    </a:lnTo>
                    <a:lnTo>
                      <a:pt x="78" y="203"/>
                    </a:lnTo>
                    <a:lnTo>
                      <a:pt x="108" y="204"/>
                    </a:lnTo>
                    <a:lnTo>
                      <a:pt x="111" y="209"/>
                    </a:lnTo>
                    <a:lnTo>
                      <a:pt x="128" y="202"/>
                    </a:lnTo>
                    <a:lnTo>
                      <a:pt x="135" y="196"/>
                    </a:lnTo>
                    <a:lnTo>
                      <a:pt x="156" y="193"/>
                    </a:lnTo>
                    <a:lnTo>
                      <a:pt x="167" y="186"/>
                    </a:lnTo>
                    <a:lnTo>
                      <a:pt x="178" y="167"/>
                    </a:lnTo>
                    <a:lnTo>
                      <a:pt x="190" y="158"/>
                    </a:lnTo>
                    <a:lnTo>
                      <a:pt x="209" y="142"/>
                    </a:lnTo>
                    <a:lnTo>
                      <a:pt x="212" y="125"/>
                    </a:lnTo>
                    <a:lnTo>
                      <a:pt x="217" y="110"/>
                    </a:lnTo>
                    <a:lnTo>
                      <a:pt x="228" y="109"/>
                    </a:lnTo>
                    <a:lnTo>
                      <a:pt x="236" y="93"/>
                    </a:lnTo>
                    <a:lnTo>
                      <a:pt x="224" y="88"/>
                    </a:lnTo>
                    <a:lnTo>
                      <a:pt x="222" y="76"/>
                    </a:lnTo>
                    <a:lnTo>
                      <a:pt x="216" y="66"/>
                    </a:lnTo>
                    <a:lnTo>
                      <a:pt x="217" y="52"/>
                    </a:lnTo>
                    <a:lnTo>
                      <a:pt x="217" y="34"/>
                    </a:lnTo>
                    <a:lnTo>
                      <a:pt x="217" y="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16" name="Freeform 153">
                <a:extLst>
                  <a:ext uri="{FF2B5EF4-FFF2-40B4-BE49-F238E27FC236}">
                    <a16:creationId xmlns:a16="http://schemas.microsoft.com/office/drawing/2014/main" id="{31CE951A-08A6-4615-9697-2783B5C2D2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1" y="3221"/>
                <a:ext cx="168" cy="324"/>
              </a:xfrm>
              <a:custGeom>
                <a:avLst/>
                <a:gdLst>
                  <a:gd name="T0" fmla="*/ 24 w 150"/>
                  <a:gd name="T1" fmla="*/ 284 h 289"/>
                  <a:gd name="T2" fmla="*/ 15 w 150"/>
                  <a:gd name="T3" fmla="*/ 262 h 289"/>
                  <a:gd name="T4" fmla="*/ 16 w 150"/>
                  <a:gd name="T5" fmla="*/ 229 h 289"/>
                  <a:gd name="T6" fmla="*/ 19 w 150"/>
                  <a:gd name="T7" fmla="*/ 194 h 289"/>
                  <a:gd name="T8" fmla="*/ 26 w 150"/>
                  <a:gd name="T9" fmla="*/ 168 h 289"/>
                  <a:gd name="T10" fmla="*/ 41 w 150"/>
                  <a:gd name="T11" fmla="*/ 155 h 289"/>
                  <a:gd name="T12" fmla="*/ 35 w 150"/>
                  <a:gd name="T13" fmla="*/ 132 h 289"/>
                  <a:gd name="T14" fmla="*/ 32 w 150"/>
                  <a:gd name="T15" fmla="*/ 97 h 289"/>
                  <a:gd name="T16" fmla="*/ 5 w 150"/>
                  <a:gd name="T17" fmla="*/ 82 h 289"/>
                  <a:gd name="T18" fmla="*/ 23 w 150"/>
                  <a:gd name="T19" fmla="*/ 75 h 289"/>
                  <a:gd name="T20" fmla="*/ 38 w 150"/>
                  <a:gd name="T21" fmla="*/ 60 h 289"/>
                  <a:gd name="T22" fmla="*/ 60 w 150"/>
                  <a:gd name="T23" fmla="*/ 68 h 289"/>
                  <a:gd name="T24" fmla="*/ 55 w 150"/>
                  <a:gd name="T25" fmla="*/ 94 h 289"/>
                  <a:gd name="T26" fmla="*/ 71 w 150"/>
                  <a:gd name="T27" fmla="*/ 99 h 289"/>
                  <a:gd name="T28" fmla="*/ 85 w 150"/>
                  <a:gd name="T29" fmla="*/ 81 h 289"/>
                  <a:gd name="T30" fmla="*/ 78 w 150"/>
                  <a:gd name="T31" fmla="*/ 59 h 289"/>
                  <a:gd name="T32" fmla="*/ 69 w 150"/>
                  <a:gd name="T33" fmla="*/ 44 h 289"/>
                  <a:gd name="T34" fmla="*/ 64 w 150"/>
                  <a:gd name="T35" fmla="*/ 26 h 289"/>
                  <a:gd name="T36" fmla="*/ 64 w 150"/>
                  <a:gd name="T37" fmla="*/ 0 h 289"/>
                  <a:gd name="T38" fmla="*/ 80 w 150"/>
                  <a:gd name="T39" fmla="*/ 18 h 289"/>
                  <a:gd name="T40" fmla="*/ 112 w 150"/>
                  <a:gd name="T41" fmla="*/ 11 h 289"/>
                  <a:gd name="T42" fmla="*/ 132 w 150"/>
                  <a:gd name="T43" fmla="*/ 4 h 289"/>
                  <a:gd name="T44" fmla="*/ 149 w 150"/>
                  <a:gd name="T45" fmla="*/ 30 h 289"/>
                  <a:gd name="T46" fmla="*/ 140 w 150"/>
                  <a:gd name="T47" fmla="*/ 93 h 289"/>
                  <a:gd name="T48" fmla="*/ 113 w 150"/>
                  <a:gd name="T49" fmla="*/ 106 h 289"/>
                  <a:gd name="T50" fmla="*/ 101 w 150"/>
                  <a:gd name="T51" fmla="*/ 117 h 289"/>
                  <a:gd name="T52" fmla="*/ 93 w 150"/>
                  <a:gd name="T53" fmla="*/ 139 h 289"/>
                  <a:gd name="T54" fmla="*/ 73 w 150"/>
                  <a:gd name="T55" fmla="*/ 149 h 289"/>
                  <a:gd name="T56" fmla="*/ 68 w 150"/>
                  <a:gd name="T57" fmla="*/ 189 h 289"/>
                  <a:gd name="T58" fmla="*/ 71 w 150"/>
                  <a:gd name="T59" fmla="*/ 220 h 289"/>
                  <a:gd name="T60" fmla="*/ 68 w 150"/>
                  <a:gd name="T61" fmla="*/ 234 h 289"/>
                  <a:gd name="T62" fmla="*/ 56 w 150"/>
                  <a:gd name="T63" fmla="*/ 242 h 289"/>
                  <a:gd name="T64" fmla="*/ 39 w 150"/>
                  <a:gd name="T65" fmla="*/ 248 h 289"/>
                  <a:gd name="T66" fmla="*/ 37 w 150"/>
                  <a:gd name="T67" fmla="*/ 269 h 289"/>
                  <a:gd name="T68" fmla="*/ 36 w 150"/>
                  <a:gd name="T69" fmla="*/ 288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0" h="289">
                    <a:moveTo>
                      <a:pt x="36" y="288"/>
                    </a:moveTo>
                    <a:lnTo>
                      <a:pt x="24" y="284"/>
                    </a:lnTo>
                    <a:lnTo>
                      <a:pt x="21" y="272"/>
                    </a:lnTo>
                    <a:lnTo>
                      <a:pt x="15" y="262"/>
                    </a:lnTo>
                    <a:lnTo>
                      <a:pt x="16" y="247"/>
                    </a:lnTo>
                    <a:lnTo>
                      <a:pt x="16" y="229"/>
                    </a:lnTo>
                    <a:lnTo>
                      <a:pt x="16" y="205"/>
                    </a:lnTo>
                    <a:lnTo>
                      <a:pt x="19" y="194"/>
                    </a:lnTo>
                    <a:lnTo>
                      <a:pt x="27" y="189"/>
                    </a:lnTo>
                    <a:lnTo>
                      <a:pt x="26" y="168"/>
                    </a:lnTo>
                    <a:lnTo>
                      <a:pt x="36" y="162"/>
                    </a:lnTo>
                    <a:lnTo>
                      <a:pt x="41" y="155"/>
                    </a:lnTo>
                    <a:lnTo>
                      <a:pt x="36" y="142"/>
                    </a:lnTo>
                    <a:lnTo>
                      <a:pt x="35" y="132"/>
                    </a:lnTo>
                    <a:lnTo>
                      <a:pt x="40" y="111"/>
                    </a:lnTo>
                    <a:lnTo>
                      <a:pt x="32" y="97"/>
                    </a:lnTo>
                    <a:lnTo>
                      <a:pt x="12" y="93"/>
                    </a:lnTo>
                    <a:lnTo>
                      <a:pt x="5" y="82"/>
                    </a:lnTo>
                    <a:lnTo>
                      <a:pt x="0" y="81"/>
                    </a:lnTo>
                    <a:lnTo>
                      <a:pt x="23" y="75"/>
                    </a:lnTo>
                    <a:lnTo>
                      <a:pt x="26" y="66"/>
                    </a:lnTo>
                    <a:lnTo>
                      <a:pt x="38" y="60"/>
                    </a:lnTo>
                    <a:lnTo>
                      <a:pt x="49" y="65"/>
                    </a:lnTo>
                    <a:lnTo>
                      <a:pt x="60" y="68"/>
                    </a:lnTo>
                    <a:lnTo>
                      <a:pt x="59" y="80"/>
                    </a:lnTo>
                    <a:lnTo>
                      <a:pt x="55" y="94"/>
                    </a:lnTo>
                    <a:lnTo>
                      <a:pt x="61" y="101"/>
                    </a:lnTo>
                    <a:lnTo>
                      <a:pt x="71" y="99"/>
                    </a:lnTo>
                    <a:lnTo>
                      <a:pt x="75" y="88"/>
                    </a:lnTo>
                    <a:lnTo>
                      <a:pt x="85" y="81"/>
                    </a:lnTo>
                    <a:lnTo>
                      <a:pt x="82" y="68"/>
                    </a:lnTo>
                    <a:lnTo>
                      <a:pt x="78" y="59"/>
                    </a:lnTo>
                    <a:lnTo>
                      <a:pt x="72" y="49"/>
                    </a:lnTo>
                    <a:lnTo>
                      <a:pt x="69" y="44"/>
                    </a:lnTo>
                    <a:lnTo>
                      <a:pt x="63" y="37"/>
                    </a:lnTo>
                    <a:lnTo>
                      <a:pt x="64" y="26"/>
                    </a:lnTo>
                    <a:lnTo>
                      <a:pt x="67" y="14"/>
                    </a:lnTo>
                    <a:lnTo>
                      <a:pt x="64" y="0"/>
                    </a:lnTo>
                    <a:lnTo>
                      <a:pt x="77" y="9"/>
                    </a:lnTo>
                    <a:lnTo>
                      <a:pt x="80" y="18"/>
                    </a:lnTo>
                    <a:lnTo>
                      <a:pt x="109" y="20"/>
                    </a:lnTo>
                    <a:lnTo>
                      <a:pt x="112" y="11"/>
                    </a:lnTo>
                    <a:lnTo>
                      <a:pt x="129" y="11"/>
                    </a:lnTo>
                    <a:lnTo>
                      <a:pt x="132" y="4"/>
                    </a:lnTo>
                    <a:lnTo>
                      <a:pt x="149" y="0"/>
                    </a:lnTo>
                    <a:lnTo>
                      <a:pt x="149" y="30"/>
                    </a:lnTo>
                    <a:lnTo>
                      <a:pt x="149" y="83"/>
                    </a:lnTo>
                    <a:lnTo>
                      <a:pt x="140" y="93"/>
                    </a:lnTo>
                    <a:lnTo>
                      <a:pt x="136" y="103"/>
                    </a:lnTo>
                    <a:lnTo>
                      <a:pt x="113" y="106"/>
                    </a:lnTo>
                    <a:lnTo>
                      <a:pt x="111" y="114"/>
                    </a:lnTo>
                    <a:lnTo>
                      <a:pt x="101" y="117"/>
                    </a:lnTo>
                    <a:lnTo>
                      <a:pt x="97" y="121"/>
                    </a:lnTo>
                    <a:lnTo>
                      <a:pt x="93" y="139"/>
                    </a:lnTo>
                    <a:lnTo>
                      <a:pt x="81" y="143"/>
                    </a:lnTo>
                    <a:lnTo>
                      <a:pt x="73" y="149"/>
                    </a:lnTo>
                    <a:lnTo>
                      <a:pt x="69" y="157"/>
                    </a:lnTo>
                    <a:lnTo>
                      <a:pt x="68" y="189"/>
                    </a:lnTo>
                    <a:lnTo>
                      <a:pt x="71" y="190"/>
                    </a:lnTo>
                    <a:lnTo>
                      <a:pt x="71" y="220"/>
                    </a:lnTo>
                    <a:lnTo>
                      <a:pt x="73" y="233"/>
                    </a:lnTo>
                    <a:lnTo>
                      <a:pt x="68" y="234"/>
                    </a:lnTo>
                    <a:lnTo>
                      <a:pt x="67" y="242"/>
                    </a:lnTo>
                    <a:lnTo>
                      <a:pt x="56" y="242"/>
                    </a:lnTo>
                    <a:lnTo>
                      <a:pt x="52" y="246"/>
                    </a:lnTo>
                    <a:lnTo>
                      <a:pt x="39" y="248"/>
                    </a:lnTo>
                    <a:lnTo>
                      <a:pt x="37" y="259"/>
                    </a:lnTo>
                    <a:lnTo>
                      <a:pt x="37" y="269"/>
                    </a:lnTo>
                    <a:lnTo>
                      <a:pt x="37" y="280"/>
                    </a:lnTo>
                    <a:lnTo>
                      <a:pt x="36" y="288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17" name="Freeform 154">
                <a:extLst>
                  <a:ext uri="{FF2B5EF4-FFF2-40B4-BE49-F238E27FC236}">
                    <a16:creationId xmlns:a16="http://schemas.microsoft.com/office/drawing/2014/main" id="{A4BCADBB-B295-4D4F-A75B-BA27B0262C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9" y="3565"/>
                <a:ext cx="42" cy="43"/>
              </a:xfrm>
              <a:custGeom>
                <a:avLst/>
                <a:gdLst>
                  <a:gd name="T0" fmla="*/ 12 w 38"/>
                  <a:gd name="T1" fmla="*/ 2 h 38"/>
                  <a:gd name="T2" fmla="*/ 9 w 38"/>
                  <a:gd name="T3" fmla="*/ 9 h 38"/>
                  <a:gd name="T4" fmla="*/ 0 w 38"/>
                  <a:gd name="T5" fmla="*/ 11 h 38"/>
                  <a:gd name="T6" fmla="*/ 1 w 38"/>
                  <a:gd name="T7" fmla="*/ 34 h 38"/>
                  <a:gd name="T8" fmla="*/ 13 w 38"/>
                  <a:gd name="T9" fmla="*/ 33 h 38"/>
                  <a:gd name="T10" fmla="*/ 16 w 38"/>
                  <a:gd name="T11" fmla="*/ 37 h 38"/>
                  <a:gd name="T12" fmla="*/ 23 w 38"/>
                  <a:gd name="T13" fmla="*/ 36 h 38"/>
                  <a:gd name="T14" fmla="*/ 28 w 38"/>
                  <a:gd name="T15" fmla="*/ 30 h 38"/>
                  <a:gd name="T16" fmla="*/ 31 w 38"/>
                  <a:gd name="T17" fmla="*/ 22 h 38"/>
                  <a:gd name="T18" fmla="*/ 37 w 38"/>
                  <a:gd name="T19" fmla="*/ 22 h 38"/>
                  <a:gd name="T20" fmla="*/ 37 w 38"/>
                  <a:gd name="T21" fmla="*/ 1 h 38"/>
                  <a:gd name="T22" fmla="*/ 23 w 38"/>
                  <a:gd name="T23" fmla="*/ 0 h 38"/>
                  <a:gd name="T24" fmla="*/ 12 w 38"/>
                  <a:gd name="T25" fmla="*/ 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" h="38">
                    <a:moveTo>
                      <a:pt x="12" y="2"/>
                    </a:moveTo>
                    <a:lnTo>
                      <a:pt x="9" y="9"/>
                    </a:lnTo>
                    <a:lnTo>
                      <a:pt x="0" y="11"/>
                    </a:lnTo>
                    <a:lnTo>
                      <a:pt x="1" y="34"/>
                    </a:lnTo>
                    <a:lnTo>
                      <a:pt x="13" y="33"/>
                    </a:lnTo>
                    <a:lnTo>
                      <a:pt x="16" y="37"/>
                    </a:lnTo>
                    <a:lnTo>
                      <a:pt x="23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37" y="22"/>
                    </a:lnTo>
                    <a:lnTo>
                      <a:pt x="37" y="1"/>
                    </a:lnTo>
                    <a:lnTo>
                      <a:pt x="23" y="0"/>
                    </a:lnTo>
                    <a:lnTo>
                      <a:pt x="12" y="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18" name="Freeform 155">
                <a:extLst>
                  <a:ext uri="{FF2B5EF4-FFF2-40B4-BE49-F238E27FC236}">
                    <a16:creationId xmlns:a16="http://schemas.microsoft.com/office/drawing/2014/main" id="{B9BA552B-64E3-43C9-A2D3-3414A710F7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1" y="3164"/>
                <a:ext cx="195" cy="194"/>
              </a:xfrm>
              <a:custGeom>
                <a:avLst/>
                <a:gdLst>
                  <a:gd name="T0" fmla="*/ 59 w 174"/>
                  <a:gd name="T1" fmla="*/ 172 h 173"/>
                  <a:gd name="T2" fmla="*/ 68 w 174"/>
                  <a:gd name="T3" fmla="*/ 169 h 173"/>
                  <a:gd name="T4" fmla="*/ 81 w 174"/>
                  <a:gd name="T5" fmla="*/ 169 h 173"/>
                  <a:gd name="T6" fmla="*/ 89 w 174"/>
                  <a:gd name="T7" fmla="*/ 166 h 173"/>
                  <a:gd name="T8" fmla="*/ 92 w 174"/>
                  <a:gd name="T9" fmla="*/ 156 h 173"/>
                  <a:gd name="T10" fmla="*/ 99 w 174"/>
                  <a:gd name="T11" fmla="*/ 153 h 173"/>
                  <a:gd name="T12" fmla="*/ 104 w 174"/>
                  <a:gd name="T13" fmla="*/ 150 h 173"/>
                  <a:gd name="T14" fmla="*/ 106 w 174"/>
                  <a:gd name="T15" fmla="*/ 140 h 173"/>
                  <a:gd name="T16" fmla="*/ 119 w 174"/>
                  <a:gd name="T17" fmla="*/ 137 h 173"/>
                  <a:gd name="T18" fmla="*/ 125 w 174"/>
                  <a:gd name="T19" fmla="*/ 130 h 173"/>
                  <a:gd name="T20" fmla="*/ 148 w 174"/>
                  <a:gd name="T21" fmla="*/ 125 h 173"/>
                  <a:gd name="T22" fmla="*/ 151 w 174"/>
                  <a:gd name="T23" fmla="*/ 116 h 173"/>
                  <a:gd name="T24" fmla="*/ 163 w 174"/>
                  <a:gd name="T25" fmla="*/ 110 h 173"/>
                  <a:gd name="T26" fmla="*/ 165 w 174"/>
                  <a:gd name="T27" fmla="*/ 83 h 173"/>
                  <a:gd name="T28" fmla="*/ 173 w 174"/>
                  <a:gd name="T29" fmla="*/ 76 h 173"/>
                  <a:gd name="T30" fmla="*/ 170 w 174"/>
                  <a:gd name="T31" fmla="*/ 59 h 173"/>
                  <a:gd name="T32" fmla="*/ 170 w 174"/>
                  <a:gd name="T33" fmla="*/ 39 h 173"/>
                  <a:gd name="T34" fmla="*/ 162 w 174"/>
                  <a:gd name="T35" fmla="*/ 25 h 173"/>
                  <a:gd name="T36" fmla="*/ 148 w 174"/>
                  <a:gd name="T37" fmla="*/ 19 h 173"/>
                  <a:gd name="T38" fmla="*/ 139 w 174"/>
                  <a:gd name="T39" fmla="*/ 8 h 173"/>
                  <a:gd name="T40" fmla="*/ 137 w 174"/>
                  <a:gd name="T41" fmla="*/ 0 h 173"/>
                  <a:gd name="T42" fmla="*/ 126 w 174"/>
                  <a:gd name="T43" fmla="*/ 1 h 173"/>
                  <a:gd name="T44" fmla="*/ 123 w 174"/>
                  <a:gd name="T45" fmla="*/ 10 h 173"/>
                  <a:gd name="T46" fmla="*/ 112 w 174"/>
                  <a:gd name="T47" fmla="*/ 14 h 173"/>
                  <a:gd name="T48" fmla="*/ 107 w 174"/>
                  <a:gd name="T49" fmla="*/ 25 h 173"/>
                  <a:gd name="T50" fmla="*/ 103 w 174"/>
                  <a:gd name="T51" fmla="*/ 69 h 173"/>
                  <a:gd name="T52" fmla="*/ 109 w 174"/>
                  <a:gd name="T53" fmla="*/ 75 h 173"/>
                  <a:gd name="T54" fmla="*/ 119 w 174"/>
                  <a:gd name="T55" fmla="*/ 75 h 173"/>
                  <a:gd name="T56" fmla="*/ 122 w 174"/>
                  <a:gd name="T57" fmla="*/ 93 h 173"/>
                  <a:gd name="T58" fmla="*/ 118 w 174"/>
                  <a:gd name="T59" fmla="*/ 103 h 173"/>
                  <a:gd name="T60" fmla="*/ 102 w 174"/>
                  <a:gd name="T61" fmla="*/ 103 h 173"/>
                  <a:gd name="T62" fmla="*/ 96 w 174"/>
                  <a:gd name="T63" fmla="*/ 96 h 173"/>
                  <a:gd name="T64" fmla="*/ 92 w 174"/>
                  <a:gd name="T65" fmla="*/ 80 h 173"/>
                  <a:gd name="T66" fmla="*/ 81 w 174"/>
                  <a:gd name="T67" fmla="*/ 74 h 173"/>
                  <a:gd name="T68" fmla="*/ 80 w 174"/>
                  <a:gd name="T69" fmla="*/ 69 h 173"/>
                  <a:gd name="T70" fmla="*/ 68 w 174"/>
                  <a:gd name="T71" fmla="*/ 70 h 173"/>
                  <a:gd name="T72" fmla="*/ 64 w 174"/>
                  <a:gd name="T73" fmla="*/ 80 h 173"/>
                  <a:gd name="T74" fmla="*/ 57 w 174"/>
                  <a:gd name="T75" fmla="*/ 77 h 173"/>
                  <a:gd name="T76" fmla="*/ 53 w 174"/>
                  <a:gd name="T77" fmla="*/ 62 h 173"/>
                  <a:gd name="T78" fmla="*/ 37 w 174"/>
                  <a:gd name="T79" fmla="*/ 60 h 173"/>
                  <a:gd name="T80" fmla="*/ 35 w 174"/>
                  <a:gd name="T81" fmla="*/ 94 h 173"/>
                  <a:gd name="T82" fmla="*/ 22 w 174"/>
                  <a:gd name="T83" fmla="*/ 94 h 173"/>
                  <a:gd name="T84" fmla="*/ 17 w 174"/>
                  <a:gd name="T85" fmla="*/ 85 h 173"/>
                  <a:gd name="T86" fmla="*/ 11 w 174"/>
                  <a:gd name="T87" fmla="*/ 86 h 173"/>
                  <a:gd name="T88" fmla="*/ 11 w 174"/>
                  <a:gd name="T89" fmla="*/ 94 h 173"/>
                  <a:gd name="T90" fmla="*/ 1 w 174"/>
                  <a:gd name="T91" fmla="*/ 95 h 173"/>
                  <a:gd name="T92" fmla="*/ 0 w 174"/>
                  <a:gd name="T93" fmla="*/ 134 h 173"/>
                  <a:gd name="T94" fmla="*/ 2 w 174"/>
                  <a:gd name="T95" fmla="*/ 146 h 173"/>
                  <a:gd name="T96" fmla="*/ 14 w 174"/>
                  <a:gd name="T97" fmla="*/ 160 h 173"/>
                  <a:gd name="T98" fmla="*/ 14 w 174"/>
                  <a:gd name="T99" fmla="*/ 168 h 173"/>
                  <a:gd name="T100" fmla="*/ 21 w 174"/>
                  <a:gd name="T101" fmla="*/ 170 h 173"/>
                  <a:gd name="T102" fmla="*/ 59 w 174"/>
                  <a:gd name="T103" fmla="*/ 17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4" h="173">
                    <a:moveTo>
                      <a:pt x="59" y="172"/>
                    </a:moveTo>
                    <a:lnTo>
                      <a:pt x="68" y="169"/>
                    </a:lnTo>
                    <a:lnTo>
                      <a:pt x="81" y="169"/>
                    </a:lnTo>
                    <a:lnTo>
                      <a:pt x="89" y="166"/>
                    </a:lnTo>
                    <a:lnTo>
                      <a:pt x="92" y="156"/>
                    </a:lnTo>
                    <a:lnTo>
                      <a:pt x="99" y="153"/>
                    </a:lnTo>
                    <a:lnTo>
                      <a:pt x="104" y="150"/>
                    </a:lnTo>
                    <a:lnTo>
                      <a:pt x="106" y="140"/>
                    </a:lnTo>
                    <a:lnTo>
                      <a:pt x="119" y="137"/>
                    </a:lnTo>
                    <a:lnTo>
                      <a:pt x="125" y="130"/>
                    </a:lnTo>
                    <a:lnTo>
                      <a:pt x="148" y="125"/>
                    </a:lnTo>
                    <a:lnTo>
                      <a:pt x="151" y="116"/>
                    </a:lnTo>
                    <a:lnTo>
                      <a:pt x="163" y="110"/>
                    </a:lnTo>
                    <a:lnTo>
                      <a:pt x="165" y="83"/>
                    </a:lnTo>
                    <a:lnTo>
                      <a:pt x="173" y="76"/>
                    </a:lnTo>
                    <a:lnTo>
                      <a:pt x="170" y="59"/>
                    </a:lnTo>
                    <a:lnTo>
                      <a:pt x="170" y="39"/>
                    </a:lnTo>
                    <a:lnTo>
                      <a:pt x="162" y="25"/>
                    </a:lnTo>
                    <a:lnTo>
                      <a:pt x="148" y="19"/>
                    </a:lnTo>
                    <a:lnTo>
                      <a:pt x="139" y="8"/>
                    </a:lnTo>
                    <a:lnTo>
                      <a:pt x="137" y="0"/>
                    </a:lnTo>
                    <a:lnTo>
                      <a:pt x="126" y="1"/>
                    </a:lnTo>
                    <a:lnTo>
                      <a:pt x="123" y="10"/>
                    </a:lnTo>
                    <a:lnTo>
                      <a:pt x="112" y="14"/>
                    </a:lnTo>
                    <a:lnTo>
                      <a:pt x="107" y="25"/>
                    </a:lnTo>
                    <a:lnTo>
                      <a:pt x="103" y="69"/>
                    </a:lnTo>
                    <a:lnTo>
                      <a:pt x="109" y="75"/>
                    </a:lnTo>
                    <a:lnTo>
                      <a:pt x="119" y="75"/>
                    </a:lnTo>
                    <a:lnTo>
                      <a:pt x="122" y="93"/>
                    </a:lnTo>
                    <a:lnTo>
                      <a:pt x="118" y="103"/>
                    </a:lnTo>
                    <a:lnTo>
                      <a:pt x="102" y="103"/>
                    </a:lnTo>
                    <a:lnTo>
                      <a:pt x="96" y="96"/>
                    </a:lnTo>
                    <a:lnTo>
                      <a:pt x="92" y="80"/>
                    </a:lnTo>
                    <a:lnTo>
                      <a:pt x="81" y="74"/>
                    </a:lnTo>
                    <a:lnTo>
                      <a:pt x="80" y="69"/>
                    </a:lnTo>
                    <a:lnTo>
                      <a:pt x="68" y="70"/>
                    </a:lnTo>
                    <a:lnTo>
                      <a:pt x="64" y="80"/>
                    </a:lnTo>
                    <a:lnTo>
                      <a:pt x="57" y="77"/>
                    </a:lnTo>
                    <a:lnTo>
                      <a:pt x="53" y="62"/>
                    </a:lnTo>
                    <a:lnTo>
                      <a:pt x="37" y="60"/>
                    </a:lnTo>
                    <a:lnTo>
                      <a:pt x="35" y="94"/>
                    </a:lnTo>
                    <a:lnTo>
                      <a:pt x="22" y="94"/>
                    </a:lnTo>
                    <a:lnTo>
                      <a:pt x="17" y="85"/>
                    </a:lnTo>
                    <a:lnTo>
                      <a:pt x="11" y="86"/>
                    </a:lnTo>
                    <a:lnTo>
                      <a:pt x="11" y="94"/>
                    </a:lnTo>
                    <a:lnTo>
                      <a:pt x="1" y="95"/>
                    </a:lnTo>
                    <a:lnTo>
                      <a:pt x="0" y="134"/>
                    </a:lnTo>
                    <a:lnTo>
                      <a:pt x="2" y="146"/>
                    </a:lnTo>
                    <a:lnTo>
                      <a:pt x="14" y="160"/>
                    </a:lnTo>
                    <a:lnTo>
                      <a:pt x="14" y="168"/>
                    </a:lnTo>
                    <a:lnTo>
                      <a:pt x="21" y="170"/>
                    </a:lnTo>
                    <a:lnTo>
                      <a:pt x="59" y="17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19" name="Freeform 156">
                <a:extLst>
                  <a:ext uri="{FF2B5EF4-FFF2-40B4-BE49-F238E27FC236}">
                    <a16:creationId xmlns:a16="http://schemas.microsoft.com/office/drawing/2014/main" id="{8FD8115C-417F-4767-80BF-5DF3191731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1" y="1810"/>
                <a:ext cx="78" cy="35"/>
              </a:xfrm>
              <a:custGeom>
                <a:avLst/>
                <a:gdLst>
                  <a:gd name="T0" fmla="*/ 69 w 70"/>
                  <a:gd name="T1" fmla="*/ 30 h 31"/>
                  <a:gd name="T2" fmla="*/ 41 w 70"/>
                  <a:gd name="T3" fmla="*/ 29 h 31"/>
                  <a:gd name="T4" fmla="*/ 27 w 70"/>
                  <a:gd name="T5" fmla="*/ 18 h 31"/>
                  <a:gd name="T6" fmla="*/ 0 w 70"/>
                  <a:gd name="T7" fmla="*/ 19 h 31"/>
                  <a:gd name="T8" fmla="*/ 11 w 70"/>
                  <a:gd name="T9" fmla="*/ 10 h 31"/>
                  <a:gd name="T10" fmla="*/ 30 w 70"/>
                  <a:gd name="T11" fmla="*/ 0 h 31"/>
                  <a:gd name="T12" fmla="*/ 53 w 70"/>
                  <a:gd name="T13" fmla="*/ 8 h 31"/>
                  <a:gd name="T14" fmla="*/ 69 w 70"/>
                  <a:gd name="T15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" h="31">
                    <a:moveTo>
                      <a:pt x="69" y="30"/>
                    </a:moveTo>
                    <a:lnTo>
                      <a:pt x="41" y="29"/>
                    </a:lnTo>
                    <a:lnTo>
                      <a:pt x="27" y="18"/>
                    </a:lnTo>
                    <a:lnTo>
                      <a:pt x="0" y="19"/>
                    </a:lnTo>
                    <a:lnTo>
                      <a:pt x="11" y="10"/>
                    </a:lnTo>
                    <a:lnTo>
                      <a:pt x="30" y="0"/>
                    </a:lnTo>
                    <a:lnTo>
                      <a:pt x="53" y="8"/>
                    </a:lnTo>
                    <a:lnTo>
                      <a:pt x="69" y="3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0" name="Freeform 157">
                <a:extLst>
                  <a:ext uri="{FF2B5EF4-FFF2-40B4-BE49-F238E27FC236}">
                    <a16:creationId xmlns:a16="http://schemas.microsoft.com/office/drawing/2014/main" id="{99BA3632-21E7-45F5-AC2B-613B183FC4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9" y="2192"/>
                <a:ext cx="63" cy="88"/>
              </a:xfrm>
              <a:custGeom>
                <a:avLst/>
                <a:gdLst>
                  <a:gd name="T0" fmla="*/ 55 w 56"/>
                  <a:gd name="T1" fmla="*/ 69 h 78"/>
                  <a:gd name="T2" fmla="*/ 44 w 56"/>
                  <a:gd name="T3" fmla="*/ 77 h 78"/>
                  <a:gd name="T4" fmla="*/ 37 w 56"/>
                  <a:gd name="T5" fmla="*/ 65 h 78"/>
                  <a:gd name="T6" fmla="*/ 24 w 56"/>
                  <a:gd name="T7" fmla="*/ 58 h 78"/>
                  <a:gd name="T8" fmla="*/ 13 w 56"/>
                  <a:gd name="T9" fmla="*/ 46 h 78"/>
                  <a:gd name="T10" fmla="*/ 0 w 56"/>
                  <a:gd name="T11" fmla="*/ 25 h 78"/>
                  <a:gd name="T12" fmla="*/ 16 w 56"/>
                  <a:gd name="T13" fmla="*/ 18 h 78"/>
                  <a:gd name="T14" fmla="*/ 25 w 56"/>
                  <a:gd name="T15" fmla="*/ 0 h 78"/>
                  <a:gd name="T16" fmla="*/ 31 w 56"/>
                  <a:gd name="T17" fmla="*/ 21 h 78"/>
                  <a:gd name="T18" fmla="*/ 42 w 56"/>
                  <a:gd name="T19" fmla="*/ 43 h 78"/>
                  <a:gd name="T20" fmla="*/ 55 w 56"/>
                  <a:gd name="T21" fmla="*/ 69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" h="78">
                    <a:moveTo>
                      <a:pt x="55" y="69"/>
                    </a:moveTo>
                    <a:lnTo>
                      <a:pt x="44" y="77"/>
                    </a:lnTo>
                    <a:lnTo>
                      <a:pt x="37" y="65"/>
                    </a:lnTo>
                    <a:lnTo>
                      <a:pt x="24" y="58"/>
                    </a:lnTo>
                    <a:lnTo>
                      <a:pt x="13" y="46"/>
                    </a:lnTo>
                    <a:lnTo>
                      <a:pt x="0" y="25"/>
                    </a:lnTo>
                    <a:lnTo>
                      <a:pt x="16" y="18"/>
                    </a:lnTo>
                    <a:lnTo>
                      <a:pt x="25" y="0"/>
                    </a:lnTo>
                    <a:lnTo>
                      <a:pt x="31" y="21"/>
                    </a:lnTo>
                    <a:lnTo>
                      <a:pt x="42" y="43"/>
                    </a:lnTo>
                    <a:lnTo>
                      <a:pt x="55" y="6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1" name="Freeform 158">
                <a:extLst>
                  <a:ext uri="{FF2B5EF4-FFF2-40B4-BE49-F238E27FC236}">
                    <a16:creationId xmlns:a16="http://schemas.microsoft.com/office/drawing/2014/main" id="{35F16616-E158-4C88-B8DE-2B1715EE70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3" y="1830"/>
                <a:ext cx="133" cy="63"/>
              </a:xfrm>
              <a:custGeom>
                <a:avLst/>
                <a:gdLst>
                  <a:gd name="T0" fmla="*/ 86 w 119"/>
                  <a:gd name="T1" fmla="*/ 55 h 56"/>
                  <a:gd name="T2" fmla="*/ 85 w 119"/>
                  <a:gd name="T3" fmla="*/ 45 h 56"/>
                  <a:gd name="T4" fmla="*/ 56 w 119"/>
                  <a:gd name="T5" fmla="*/ 33 h 56"/>
                  <a:gd name="T6" fmla="*/ 26 w 119"/>
                  <a:gd name="T7" fmla="*/ 51 h 56"/>
                  <a:gd name="T8" fmla="*/ 2 w 119"/>
                  <a:gd name="T9" fmla="*/ 52 h 56"/>
                  <a:gd name="T10" fmla="*/ 0 w 119"/>
                  <a:gd name="T11" fmla="*/ 27 h 56"/>
                  <a:gd name="T12" fmla="*/ 10 w 119"/>
                  <a:gd name="T13" fmla="*/ 17 h 56"/>
                  <a:gd name="T14" fmla="*/ 21 w 119"/>
                  <a:gd name="T15" fmla="*/ 33 h 56"/>
                  <a:gd name="T16" fmla="*/ 37 w 119"/>
                  <a:gd name="T17" fmla="*/ 33 h 56"/>
                  <a:gd name="T18" fmla="*/ 40 w 119"/>
                  <a:gd name="T19" fmla="*/ 19 h 56"/>
                  <a:gd name="T20" fmla="*/ 29 w 119"/>
                  <a:gd name="T21" fmla="*/ 14 h 56"/>
                  <a:gd name="T22" fmla="*/ 25 w 119"/>
                  <a:gd name="T23" fmla="*/ 2 h 56"/>
                  <a:gd name="T24" fmla="*/ 52 w 119"/>
                  <a:gd name="T25" fmla="*/ 0 h 56"/>
                  <a:gd name="T26" fmla="*/ 67 w 119"/>
                  <a:gd name="T27" fmla="*/ 12 h 56"/>
                  <a:gd name="T28" fmla="*/ 95 w 119"/>
                  <a:gd name="T29" fmla="*/ 13 h 56"/>
                  <a:gd name="T30" fmla="*/ 118 w 119"/>
                  <a:gd name="T31" fmla="*/ 33 h 56"/>
                  <a:gd name="T32" fmla="*/ 107 w 119"/>
                  <a:gd name="T33" fmla="*/ 41 h 56"/>
                  <a:gd name="T34" fmla="*/ 92 w 119"/>
                  <a:gd name="T35" fmla="*/ 36 h 56"/>
                  <a:gd name="T36" fmla="*/ 86 w 119"/>
                  <a:gd name="T37" fmla="*/ 5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9" h="56">
                    <a:moveTo>
                      <a:pt x="86" y="55"/>
                    </a:moveTo>
                    <a:lnTo>
                      <a:pt x="85" y="45"/>
                    </a:lnTo>
                    <a:lnTo>
                      <a:pt x="56" y="33"/>
                    </a:lnTo>
                    <a:lnTo>
                      <a:pt x="26" y="51"/>
                    </a:lnTo>
                    <a:lnTo>
                      <a:pt x="2" y="52"/>
                    </a:lnTo>
                    <a:lnTo>
                      <a:pt x="0" y="27"/>
                    </a:lnTo>
                    <a:lnTo>
                      <a:pt x="10" y="17"/>
                    </a:lnTo>
                    <a:lnTo>
                      <a:pt x="21" y="33"/>
                    </a:lnTo>
                    <a:lnTo>
                      <a:pt x="37" y="33"/>
                    </a:lnTo>
                    <a:lnTo>
                      <a:pt x="40" y="19"/>
                    </a:lnTo>
                    <a:lnTo>
                      <a:pt x="29" y="14"/>
                    </a:lnTo>
                    <a:lnTo>
                      <a:pt x="25" y="2"/>
                    </a:lnTo>
                    <a:lnTo>
                      <a:pt x="52" y="0"/>
                    </a:lnTo>
                    <a:lnTo>
                      <a:pt x="67" y="12"/>
                    </a:lnTo>
                    <a:lnTo>
                      <a:pt x="95" y="13"/>
                    </a:lnTo>
                    <a:lnTo>
                      <a:pt x="118" y="33"/>
                    </a:lnTo>
                    <a:lnTo>
                      <a:pt x="107" y="41"/>
                    </a:lnTo>
                    <a:lnTo>
                      <a:pt x="92" y="36"/>
                    </a:lnTo>
                    <a:lnTo>
                      <a:pt x="86" y="5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2" name="Freeform 159">
                <a:extLst>
                  <a:ext uri="{FF2B5EF4-FFF2-40B4-BE49-F238E27FC236}">
                    <a16:creationId xmlns:a16="http://schemas.microsoft.com/office/drawing/2014/main" id="{EB926AA3-4332-4E4E-9FED-CD9EA9EF84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0" y="2801"/>
                <a:ext cx="36" cy="36"/>
              </a:xfrm>
              <a:custGeom>
                <a:avLst/>
                <a:gdLst>
                  <a:gd name="T0" fmla="*/ 16 w 32"/>
                  <a:gd name="T1" fmla="*/ 30 h 31"/>
                  <a:gd name="T2" fmla="*/ 0 w 32"/>
                  <a:gd name="T3" fmla="*/ 27 h 31"/>
                  <a:gd name="T4" fmla="*/ 3 w 32"/>
                  <a:gd name="T5" fmla="*/ 0 h 31"/>
                  <a:gd name="T6" fmla="*/ 31 w 32"/>
                  <a:gd name="T7" fmla="*/ 17 h 31"/>
                  <a:gd name="T8" fmla="*/ 16 w 32"/>
                  <a:gd name="T9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1">
                    <a:moveTo>
                      <a:pt x="16" y="30"/>
                    </a:moveTo>
                    <a:lnTo>
                      <a:pt x="0" y="27"/>
                    </a:lnTo>
                    <a:lnTo>
                      <a:pt x="3" y="0"/>
                    </a:lnTo>
                    <a:lnTo>
                      <a:pt x="31" y="17"/>
                    </a:lnTo>
                    <a:lnTo>
                      <a:pt x="16" y="3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3" name="Freeform 160">
                <a:extLst>
                  <a:ext uri="{FF2B5EF4-FFF2-40B4-BE49-F238E27FC236}">
                    <a16:creationId xmlns:a16="http://schemas.microsoft.com/office/drawing/2014/main" id="{A78AED25-8C33-4DC9-956B-EC658F389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0" y="2797"/>
                <a:ext cx="54" cy="117"/>
              </a:xfrm>
              <a:custGeom>
                <a:avLst/>
                <a:gdLst>
                  <a:gd name="T0" fmla="*/ 0 w 48"/>
                  <a:gd name="T1" fmla="*/ 36 h 104"/>
                  <a:gd name="T2" fmla="*/ 7 w 48"/>
                  <a:gd name="T3" fmla="*/ 46 h 104"/>
                  <a:gd name="T4" fmla="*/ 10 w 48"/>
                  <a:gd name="T5" fmla="*/ 66 h 104"/>
                  <a:gd name="T6" fmla="*/ 11 w 48"/>
                  <a:gd name="T7" fmla="*/ 84 h 104"/>
                  <a:gd name="T8" fmla="*/ 16 w 48"/>
                  <a:gd name="T9" fmla="*/ 103 h 104"/>
                  <a:gd name="T10" fmla="*/ 34 w 48"/>
                  <a:gd name="T11" fmla="*/ 95 h 104"/>
                  <a:gd name="T12" fmla="*/ 31 w 48"/>
                  <a:gd name="T13" fmla="*/ 62 h 104"/>
                  <a:gd name="T14" fmla="*/ 39 w 48"/>
                  <a:gd name="T15" fmla="*/ 51 h 104"/>
                  <a:gd name="T16" fmla="*/ 47 w 48"/>
                  <a:gd name="T17" fmla="*/ 19 h 104"/>
                  <a:gd name="T18" fmla="*/ 44 w 48"/>
                  <a:gd name="T19" fmla="*/ 0 h 104"/>
                  <a:gd name="T20" fmla="*/ 31 w 48"/>
                  <a:gd name="T21" fmla="*/ 1 h 104"/>
                  <a:gd name="T22" fmla="*/ 27 w 48"/>
                  <a:gd name="T23" fmla="*/ 16 h 104"/>
                  <a:gd name="T24" fmla="*/ 11 w 48"/>
                  <a:gd name="T25" fmla="*/ 21 h 104"/>
                  <a:gd name="T26" fmla="*/ 0 w 48"/>
                  <a:gd name="T27" fmla="*/ 36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104">
                    <a:moveTo>
                      <a:pt x="0" y="36"/>
                    </a:moveTo>
                    <a:lnTo>
                      <a:pt x="7" y="46"/>
                    </a:lnTo>
                    <a:lnTo>
                      <a:pt x="10" y="66"/>
                    </a:lnTo>
                    <a:lnTo>
                      <a:pt x="11" y="84"/>
                    </a:lnTo>
                    <a:lnTo>
                      <a:pt x="16" y="103"/>
                    </a:lnTo>
                    <a:lnTo>
                      <a:pt x="34" y="95"/>
                    </a:lnTo>
                    <a:lnTo>
                      <a:pt x="31" y="62"/>
                    </a:lnTo>
                    <a:lnTo>
                      <a:pt x="39" y="51"/>
                    </a:lnTo>
                    <a:lnTo>
                      <a:pt x="47" y="19"/>
                    </a:lnTo>
                    <a:lnTo>
                      <a:pt x="44" y="0"/>
                    </a:lnTo>
                    <a:lnTo>
                      <a:pt x="31" y="1"/>
                    </a:lnTo>
                    <a:lnTo>
                      <a:pt x="27" y="16"/>
                    </a:lnTo>
                    <a:lnTo>
                      <a:pt x="11" y="21"/>
                    </a:lnTo>
                    <a:lnTo>
                      <a:pt x="0" y="36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4" name="Freeform 161">
                <a:extLst>
                  <a:ext uri="{FF2B5EF4-FFF2-40B4-BE49-F238E27FC236}">
                    <a16:creationId xmlns:a16="http://schemas.microsoft.com/office/drawing/2014/main" id="{FCD2AEDD-A3C9-45E7-BE89-42932B5170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1" y="2844"/>
                <a:ext cx="56" cy="60"/>
              </a:xfrm>
              <a:custGeom>
                <a:avLst/>
                <a:gdLst>
                  <a:gd name="T0" fmla="*/ 48 w 49"/>
                  <a:gd name="T1" fmla="*/ 26 h 53"/>
                  <a:gd name="T2" fmla="*/ 44 w 49"/>
                  <a:gd name="T3" fmla="*/ 9 h 53"/>
                  <a:gd name="T4" fmla="*/ 27 w 49"/>
                  <a:gd name="T5" fmla="*/ 0 h 53"/>
                  <a:gd name="T6" fmla="*/ 15 w 49"/>
                  <a:gd name="T7" fmla="*/ 6 h 53"/>
                  <a:gd name="T8" fmla="*/ 0 w 49"/>
                  <a:gd name="T9" fmla="*/ 10 h 53"/>
                  <a:gd name="T10" fmla="*/ 3 w 49"/>
                  <a:gd name="T11" fmla="*/ 25 h 53"/>
                  <a:gd name="T12" fmla="*/ 14 w 49"/>
                  <a:gd name="T13" fmla="*/ 28 h 53"/>
                  <a:gd name="T14" fmla="*/ 16 w 49"/>
                  <a:gd name="T15" fmla="*/ 40 h 53"/>
                  <a:gd name="T16" fmla="*/ 29 w 49"/>
                  <a:gd name="T17" fmla="*/ 44 h 53"/>
                  <a:gd name="T18" fmla="*/ 33 w 49"/>
                  <a:gd name="T19" fmla="*/ 52 h 53"/>
                  <a:gd name="T20" fmla="*/ 48 w 49"/>
                  <a:gd name="T21" fmla="*/ 2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9" h="53">
                    <a:moveTo>
                      <a:pt x="48" y="26"/>
                    </a:moveTo>
                    <a:lnTo>
                      <a:pt x="44" y="9"/>
                    </a:lnTo>
                    <a:lnTo>
                      <a:pt x="27" y="0"/>
                    </a:lnTo>
                    <a:lnTo>
                      <a:pt x="15" y="6"/>
                    </a:lnTo>
                    <a:lnTo>
                      <a:pt x="0" y="10"/>
                    </a:lnTo>
                    <a:lnTo>
                      <a:pt x="3" y="25"/>
                    </a:lnTo>
                    <a:lnTo>
                      <a:pt x="14" y="28"/>
                    </a:lnTo>
                    <a:lnTo>
                      <a:pt x="16" y="40"/>
                    </a:lnTo>
                    <a:lnTo>
                      <a:pt x="29" y="44"/>
                    </a:lnTo>
                    <a:lnTo>
                      <a:pt x="33" y="52"/>
                    </a:lnTo>
                    <a:lnTo>
                      <a:pt x="48" y="26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5" name="Freeform 162">
                <a:extLst>
                  <a:ext uri="{FF2B5EF4-FFF2-40B4-BE49-F238E27FC236}">
                    <a16:creationId xmlns:a16="http://schemas.microsoft.com/office/drawing/2014/main" id="{4144CEBD-2F32-4455-9D81-6274FAD46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5" y="2540"/>
                <a:ext cx="86" cy="60"/>
              </a:xfrm>
              <a:custGeom>
                <a:avLst/>
                <a:gdLst>
                  <a:gd name="T0" fmla="*/ 0 w 78"/>
                  <a:gd name="T1" fmla="*/ 16 h 54"/>
                  <a:gd name="T2" fmla="*/ 12 w 78"/>
                  <a:gd name="T3" fmla="*/ 50 h 54"/>
                  <a:gd name="T4" fmla="*/ 56 w 78"/>
                  <a:gd name="T5" fmla="*/ 53 h 54"/>
                  <a:gd name="T6" fmla="*/ 77 w 78"/>
                  <a:gd name="T7" fmla="*/ 19 h 54"/>
                  <a:gd name="T8" fmla="*/ 73 w 78"/>
                  <a:gd name="T9" fmla="*/ 0 h 54"/>
                  <a:gd name="T10" fmla="*/ 61 w 78"/>
                  <a:gd name="T11" fmla="*/ 15 h 54"/>
                  <a:gd name="T12" fmla="*/ 50 w 78"/>
                  <a:gd name="T13" fmla="*/ 27 h 54"/>
                  <a:gd name="T14" fmla="*/ 26 w 78"/>
                  <a:gd name="T15" fmla="*/ 31 h 54"/>
                  <a:gd name="T16" fmla="*/ 14 w 78"/>
                  <a:gd name="T17" fmla="*/ 27 h 54"/>
                  <a:gd name="T18" fmla="*/ 0 w 78"/>
                  <a:gd name="T19" fmla="*/ 16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" h="54">
                    <a:moveTo>
                      <a:pt x="0" y="16"/>
                    </a:moveTo>
                    <a:lnTo>
                      <a:pt x="12" y="50"/>
                    </a:lnTo>
                    <a:lnTo>
                      <a:pt x="56" y="53"/>
                    </a:lnTo>
                    <a:lnTo>
                      <a:pt x="77" y="19"/>
                    </a:lnTo>
                    <a:lnTo>
                      <a:pt x="73" y="0"/>
                    </a:lnTo>
                    <a:lnTo>
                      <a:pt x="61" y="15"/>
                    </a:lnTo>
                    <a:lnTo>
                      <a:pt x="50" y="27"/>
                    </a:lnTo>
                    <a:lnTo>
                      <a:pt x="26" y="31"/>
                    </a:lnTo>
                    <a:lnTo>
                      <a:pt x="14" y="27"/>
                    </a:lnTo>
                    <a:lnTo>
                      <a:pt x="0" y="16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" name="Freeform 163">
                <a:extLst>
                  <a:ext uri="{FF2B5EF4-FFF2-40B4-BE49-F238E27FC236}">
                    <a16:creationId xmlns:a16="http://schemas.microsoft.com/office/drawing/2014/main" id="{8BF9ABD9-153D-4E1C-8906-F3C874DAAD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" y="3048"/>
                <a:ext cx="31" cy="31"/>
              </a:xfrm>
              <a:custGeom>
                <a:avLst/>
                <a:gdLst>
                  <a:gd name="T0" fmla="*/ 13 w 28"/>
                  <a:gd name="T1" fmla="*/ 0 h 28"/>
                  <a:gd name="T2" fmla="*/ 3 w 28"/>
                  <a:gd name="T3" fmla="*/ 4 h 28"/>
                  <a:gd name="T4" fmla="*/ 6 w 28"/>
                  <a:gd name="T5" fmla="*/ 14 h 28"/>
                  <a:gd name="T6" fmla="*/ 0 w 28"/>
                  <a:gd name="T7" fmla="*/ 19 h 28"/>
                  <a:gd name="T8" fmla="*/ 1 w 28"/>
                  <a:gd name="T9" fmla="*/ 27 h 28"/>
                  <a:gd name="T10" fmla="*/ 10 w 28"/>
                  <a:gd name="T11" fmla="*/ 26 h 28"/>
                  <a:gd name="T12" fmla="*/ 22 w 28"/>
                  <a:gd name="T13" fmla="*/ 26 h 28"/>
                  <a:gd name="T14" fmla="*/ 27 w 28"/>
                  <a:gd name="T15" fmla="*/ 19 h 28"/>
                  <a:gd name="T16" fmla="*/ 24 w 28"/>
                  <a:gd name="T17" fmla="*/ 4 h 28"/>
                  <a:gd name="T18" fmla="*/ 13 w 28"/>
                  <a:gd name="T1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3" y="0"/>
                    </a:moveTo>
                    <a:lnTo>
                      <a:pt x="3" y="4"/>
                    </a:lnTo>
                    <a:lnTo>
                      <a:pt x="6" y="14"/>
                    </a:lnTo>
                    <a:lnTo>
                      <a:pt x="0" y="19"/>
                    </a:lnTo>
                    <a:lnTo>
                      <a:pt x="1" y="27"/>
                    </a:lnTo>
                    <a:lnTo>
                      <a:pt x="10" y="26"/>
                    </a:lnTo>
                    <a:lnTo>
                      <a:pt x="22" y="26"/>
                    </a:lnTo>
                    <a:lnTo>
                      <a:pt x="27" y="19"/>
                    </a:lnTo>
                    <a:lnTo>
                      <a:pt x="24" y="4"/>
                    </a:lnTo>
                    <a:lnTo>
                      <a:pt x="13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" name="Freeform 164">
                <a:extLst>
                  <a:ext uri="{FF2B5EF4-FFF2-40B4-BE49-F238E27FC236}">
                    <a16:creationId xmlns:a16="http://schemas.microsoft.com/office/drawing/2014/main" id="{AAE8DBE8-AE7D-4154-B740-0B29AB8F31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7" y="3069"/>
                <a:ext cx="27" cy="33"/>
              </a:xfrm>
              <a:custGeom>
                <a:avLst/>
                <a:gdLst>
                  <a:gd name="T0" fmla="*/ 13 w 25"/>
                  <a:gd name="T1" fmla="*/ 26 h 29"/>
                  <a:gd name="T2" fmla="*/ 24 w 25"/>
                  <a:gd name="T3" fmla="*/ 25 h 29"/>
                  <a:gd name="T4" fmla="*/ 23 w 25"/>
                  <a:gd name="T5" fmla="*/ 7 h 29"/>
                  <a:gd name="T6" fmla="*/ 19 w 25"/>
                  <a:gd name="T7" fmla="*/ 0 h 29"/>
                  <a:gd name="T8" fmla="*/ 14 w 25"/>
                  <a:gd name="T9" fmla="*/ 7 h 29"/>
                  <a:gd name="T10" fmla="*/ 2 w 25"/>
                  <a:gd name="T11" fmla="*/ 7 h 29"/>
                  <a:gd name="T12" fmla="*/ 0 w 25"/>
                  <a:gd name="T13" fmla="*/ 23 h 29"/>
                  <a:gd name="T14" fmla="*/ 6 w 25"/>
                  <a:gd name="T15" fmla="*/ 28 h 29"/>
                  <a:gd name="T16" fmla="*/ 13 w 25"/>
                  <a:gd name="T17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" h="29">
                    <a:moveTo>
                      <a:pt x="13" y="26"/>
                    </a:moveTo>
                    <a:lnTo>
                      <a:pt x="24" y="25"/>
                    </a:lnTo>
                    <a:lnTo>
                      <a:pt x="23" y="7"/>
                    </a:lnTo>
                    <a:lnTo>
                      <a:pt x="19" y="0"/>
                    </a:lnTo>
                    <a:lnTo>
                      <a:pt x="14" y="7"/>
                    </a:lnTo>
                    <a:lnTo>
                      <a:pt x="2" y="7"/>
                    </a:lnTo>
                    <a:lnTo>
                      <a:pt x="0" y="23"/>
                    </a:lnTo>
                    <a:lnTo>
                      <a:pt x="6" y="28"/>
                    </a:lnTo>
                    <a:lnTo>
                      <a:pt x="13" y="26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8" name="Freeform 165">
                <a:extLst>
                  <a:ext uri="{FF2B5EF4-FFF2-40B4-BE49-F238E27FC236}">
                    <a16:creationId xmlns:a16="http://schemas.microsoft.com/office/drawing/2014/main" id="{26B2547F-3513-4230-86F6-5F7BC58EF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4" y="2091"/>
                <a:ext cx="53" cy="34"/>
              </a:xfrm>
              <a:custGeom>
                <a:avLst/>
                <a:gdLst>
                  <a:gd name="T0" fmla="*/ 8 w 49"/>
                  <a:gd name="T1" fmla="*/ 28 h 30"/>
                  <a:gd name="T2" fmla="*/ 0 w 49"/>
                  <a:gd name="T3" fmla="*/ 22 h 30"/>
                  <a:gd name="T4" fmla="*/ 3 w 49"/>
                  <a:gd name="T5" fmla="*/ 13 h 30"/>
                  <a:gd name="T6" fmla="*/ 9 w 49"/>
                  <a:gd name="T7" fmla="*/ 3 h 30"/>
                  <a:gd name="T8" fmla="*/ 19 w 49"/>
                  <a:gd name="T9" fmla="*/ 2 h 30"/>
                  <a:gd name="T10" fmla="*/ 27 w 49"/>
                  <a:gd name="T11" fmla="*/ 3 h 30"/>
                  <a:gd name="T12" fmla="*/ 37 w 49"/>
                  <a:gd name="T13" fmla="*/ 0 h 30"/>
                  <a:gd name="T14" fmla="*/ 45 w 49"/>
                  <a:gd name="T15" fmla="*/ 5 h 30"/>
                  <a:gd name="T16" fmla="*/ 48 w 49"/>
                  <a:gd name="T17" fmla="*/ 15 h 30"/>
                  <a:gd name="T18" fmla="*/ 43 w 49"/>
                  <a:gd name="T19" fmla="*/ 26 h 30"/>
                  <a:gd name="T20" fmla="*/ 37 w 49"/>
                  <a:gd name="T21" fmla="*/ 24 h 30"/>
                  <a:gd name="T22" fmla="*/ 33 w 49"/>
                  <a:gd name="T23" fmla="*/ 29 h 30"/>
                  <a:gd name="T24" fmla="*/ 27 w 49"/>
                  <a:gd name="T25" fmla="*/ 22 h 30"/>
                  <a:gd name="T26" fmla="*/ 22 w 49"/>
                  <a:gd name="T27" fmla="*/ 28 h 30"/>
                  <a:gd name="T28" fmla="*/ 8 w 49"/>
                  <a:gd name="T29" fmla="*/ 2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9" h="30">
                    <a:moveTo>
                      <a:pt x="8" y="28"/>
                    </a:moveTo>
                    <a:lnTo>
                      <a:pt x="0" y="22"/>
                    </a:lnTo>
                    <a:lnTo>
                      <a:pt x="3" y="13"/>
                    </a:lnTo>
                    <a:lnTo>
                      <a:pt x="9" y="3"/>
                    </a:lnTo>
                    <a:lnTo>
                      <a:pt x="19" y="2"/>
                    </a:lnTo>
                    <a:lnTo>
                      <a:pt x="27" y="3"/>
                    </a:lnTo>
                    <a:lnTo>
                      <a:pt x="37" y="0"/>
                    </a:lnTo>
                    <a:lnTo>
                      <a:pt x="45" y="5"/>
                    </a:lnTo>
                    <a:lnTo>
                      <a:pt x="48" y="15"/>
                    </a:lnTo>
                    <a:lnTo>
                      <a:pt x="43" y="26"/>
                    </a:lnTo>
                    <a:lnTo>
                      <a:pt x="37" y="24"/>
                    </a:lnTo>
                    <a:lnTo>
                      <a:pt x="33" y="29"/>
                    </a:lnTo>
                    <a:lnTo>
                      <a:pt x="27" y="22"/>
                    </a:lnTo>
                    <a:lnTo>
                      <a:pt x="22" y="28"/>
                    </a:lnTo>
                    <a:lnTo>
                      <a:pt x="8" y="28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9" name="Freeform 166">
                <a:extLst>
                  <a:ext uri="{FF2B5EF4-FFF2-40B4-BE49-F238E27FC236}">
                    <a16:creationId xmlns:a16="http://schemas.microsoft.com/office/drawing/2014/main" id="{588FEBBE-6F4D-44C5-834E-419568FDCA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2" y="1963"/>
                <a:ext cx="45" cy="62"/>
              </a:xfrm>
              <a:custGeom>
                <a:avLst/>
                <a:gdLst>
                  <a:gd name="T0" fmla="*/ 0 w 41"/>
                  <a:gd name="T1" fmla="*/ 42 h 54"/>
                  <a:gd name="T2" fmla="*/ 8 w 41"/>
                  <a:gd name="T3" fmla="*/ 38 h 54"/>
                  <a:gd name="T4" fmla="*/ 17 w 41"/>
                  <a:gd name="T5" fmla="*/ 40 h 54"/>
                  <a:gd name="T6" fmla="*/ 19 w 41"/>
                  <a:gd name="T7" fmla="*/ 53 h 54"/>
                  <a:gd name="T8" fmla="*/ 22 w 41"/>
                  <a:gd name="T9" fmla="*/ 36 h 54"/>
                  <a:gd name="T10" fmla="*/ 32 w 41"/>
                  <a:gd name="T11" fmla="*/ 29 h 54"/>
                  <a:gd name="T12" fmla="*/ 40 w 41"/>
                  <a:gd name="T13" fmla="*/ 15 h 54"/>
                  <a:gd name="T14" fmla="*/ 40 w 41"/>
                  <a:gd name="T15" fmla="*/ 0 h 54"/>
                  <a:gd name="T16" fmla="*/ 22 w 41"/>
                  <a:gd name="T17" fmla="*/ 3 h 54"/>
                  <a:gd name="T18" fmla="*/ 18 w 41"/>
                  <a:gd name="T19" fmla="*/ 8 h 54"/>
                  <a:gd name="T20" fmla="*/ 18 w 41"/>
                  <a:gd name="T21" fmla="*/ 10 h 54"/>
                  <a:gd name="T22" fmla="*/ 16 w 41"/>
                  <a:gd name="T23" fmla="*/ 16 h 54"/>
                  <a:gd name="T24" fmla="*/ 8 w 41"/>
                  <a:gd name="T25" fmla="*/ 11 h 54"/>
                  <a:gd name="T26" fmla="*/ 2 w 41"/>
                  <a:gd name="T27" fmla="*/ 27 h 54"/>
                  <a:gd name="T28" fmla="*/ 4 w 41"/>
                  <a:gd name="T29" fmla="*/ 30 h 54"/>
                  <a:gd name="T30" fmla="*/ 0 w 41"/>
                  <a:gd name="T31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1" h="54">
                    <a:moveTo>
                      <a:pt x="0" y="42"/>
                    </a:moveTo>
                    <a:lnTo>
                      <a:pt x="8" y="38"/>
                    </a:lnTo>
                    <a:lnTo>
                      <a:pt x="17" y="40"/>
                    </a:lnTo>
                    <a:lnTo>
                      <a:pt x="19" y="53"/>
                    </a:lnTo>
                    <a:lnTo>
                      <a:pt x="22" y="36"/>
                    </a:lnTo>
                    <a:lnTo>
                      <a:pt x="32" y="29"/>
                    </a:lnTo>
                    <a:lnTo>
                      <a:pt x="40" y="15"/>
                    </a:lnTo>
                    <a:lnTo>
                      <a:pt x="40" y="0"/>
                    </a:lnTo>
                    <a:lnTo>
                      <a:pt x="22" y="3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16" y="16"/>
                    </a:lnTo>
                    <a:lnTo>
                      <a:pt x="8" y="11"/>
                    </a:lnTo>
                    <a:lnTo>
                      <a:pt x="2" y="27"/>
                    </a:lnTo>
                    <a:lnTo>
                      <a:pt x="4" y="30"/>
                    </a:lnTo>
                    <a:lnTo>
                      <a:pt x="0" y="4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0" name="Freeform 167">
                <a:extLst>
                  <a:ext uri="{FF2B5EF4-FFF2-40B4-BE49-F238E27FC236}">
                    <a16:creationId xmlns:a16="http://schemas.microsoft.com/office/drawing/2014/main" id="{3F3D33EC-528B-4843-A83C-6ECD5917AB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3" y="2985"/>
                <a:ext cx="104" cy="122"/>
              </a:xfrm>
              <a:custGeom>
                <a:avLst/>
                <a:gdLst>
                  <a:gd name="T0" fmla="*/ 68 w 93"/>
                  <a:gd name="T1" fmla="*/ 0 h 109"/>
                  <a:gd name="T2" fmla="*/ 45 w 93"/>
                  <a:gd name="T3" fmla="*/ 2 h 109"/>
                  <a:gd name="T4" fmla="*/ 37 w 93"/>
                  <a:gd name="T5" fmla="*/ 8 h 109"/>
                  <a:gd name="T6" fmla="*/ 37 w 93"/>
                  <a:gd name="T7" fmla="*/ 16 h 109"/>
                  <a:gd name="T8" fmla="*/ 33 w 93"/>
                  <a:gd name="T9" fmla="*/ 27 h 109"/>
                  <a:gd name="T10" fmla="*/ 18 w 93"/>
                  <a:gd name="T11" fmla="*/ 28 h 109"/>
                  <a:gd name="T12" fmla="*/ 14 w 93"/>
                  <a:gd name="T13" fmla="*/ 23 h 109"/>
                  <a:gd name="T14" fmla="*/ 14 w 93"/>
                  <a:gd name="T15" fmla="*/ 42 h 109"/>
                  <a:gd name="T16" fmla="*/ 2 w 93"/>
                  <a:gd name="T17" fmla="*/ 48 h 109"/>
                  <a:gd name="T18" fmla="*/ 0 w 93"/>
                  <a:gd name="T19" fmla="*/ 52 h 109"/>
                  <a:gd name="T20" fmla="*/ 7 w 93"/>
                  <a:gd name="T21" fmla="*/ 56 h 109"/>
                  <a:gd name="T22" fmla="*/ 6 w 93"/>
                  <a:gd name="T23" fmla="*/ 69 h 109"/>
                  <a:gd name="T24" fmla="*/ 24 w 93"/>
                  <a:gd name="T25" fmla="*/ 85 h 109"/>
                  <a:gd name="T26" fmla="*/ 38 w 93"/>
                  <a:gd name="T27" fmla="*/ 102 h 109"/>
                  <a:gd name="T28" fmla="*/ 43 w 93"/>
                  <a:gd name="T29" fmla="*/ 108 h 109"/>
                  <a:gd name="T30" fmla="*/ 49 w 93"/>
                  <a:gd name="T31" fmla="*/ 100 h 109"/>
                  <a:gd name="T32" fmla="*/ 54 w 93"/>
                  <a:gd name="T33" fmla="*/ 89 h 109"/>
                  <a:gd name="T34" fmla="*/ 47 w 93"/>
                  <a:gd name="T35" fmla="*/ 84 h 109"/>
                  <a:gd name="T36" fmla="*/ 45 w 93"/>
                  <a:gd name="T37" fmla="*/ 76 h 109"/>
                  <a:gd name="T38" fmla="*/ 55 w 93"/>
                  <a:gd name="T39" fmla="*/ 71 h 109"/>
                  <a:gd name="T40" fmla="*/ 63 w 93"/>
                  <a:gd name="T41" fmla="*/ 69 h 109"/>
                  <a:gd name="T42" fmla="*/ 71 w 93"/>
                  <a:gd name="T43" fmla="*/ 79 h 109"/>
                  <a:gd name="T44" fmla="*/ 83 w 93"/>
                  <a:gd name="T45" fmla="*/ 74 h 109"/>
                  <a:gd name="T46" fmla="*/ 92 w 93"/>
                  <a:gd name="T47" fmla="*/ 61 h 109"/>
                  <a:gd name="T48" fmla="*/ 89 w 93"/>
                  <a:gd name="T49" fmla="*/ 47 h 109"/>
                  <a:gd name="T50" fmla="*/ 83 w 93"/>
                  <a:gd name="T51" fmla="*/ 41 h 109"/>
                  <a:gd name="T52" fmla="*/ 78 w 93"/>
                  <a:gd name="T53" fmla="*/ 30 h 109"/>
                  <a:gd name="T54" fmla="*/ 82 w 93"/>
                  <a:gd name="T55" fmla="*/ 23 h 109"/>
                  <a:gd name="T56" fmla="*/ 78 w 93"/>
                  <a:gd name="T57" fmla="*/ 14 h 109"/>
                  <a:gd name="T58" fmla="*/ 68 w 93"/>
                  <a:gd name="T59" fmla="*/ 13 h 109"/>
                  <a:gd name="T60" fmla="*/ 68 w 93"/>
                  <a:gd name="T61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109">
                    <a:moveTo>
                      <a:pt x="68" y="0"/>
                    </a:moveTo>
                    <a:lnTo>
                      <a:pt x="45" y="2"/>
                    </a:lnTo>
                    <a:lnTo>
                      <a:pt x="37" y="8"/>
                    </a:lnTo>
                    <a:lnTo>
                      <a:pt x="37" y="16"/>
                    </a:lnTo>
                    <a:lnTo>
                      <a:pt x="33" y="27"/>
                    </a:lnTo>
                    <a:lnTo>
                      <a:pt x="18" y="28"/>
                    </a:lnTo>
                    <a:lnTo>
                      <a:pt x="14" y="23"/>
                    </a:lnTo>
                    <a:lnTo>
                      <a:pt x="14" y="42"/>
                    </a:lnTo>
                    <a:lnTo>
                      <a:pt x="2" y="48"/>
                    </a:lnTo>
                    <a:lnTo>
                      <a:pt x="0" y="52"/>
                    </a:lnTo>
                    <a:lnTo>
                      <a:pt x="7" y="56"/>
                    </a:lnTo>
                    <a:lnTo>
                      <a:pt x="6" y="69"/>
                    </a:lnTo>
                    <a:lnTo>
                      <a:pt x="24" y="85"/>
                    </a:lnTo>
                    <a:lnTo>
                      <a:pt x="38" y="102"/>
                    </a:lnTo>
                    <a:lnTo>
                      <a:pt x="43" y="108"/>
                    </a:lnTo>
                    <a:lnTo>
                      <a:pt x="49" y="100"/>
                    </a:lnTo>
                    <a:lnTo>
                      <a:pt x="54" y="89"/>
                    </a:lnTo>
                    <a:lnTo>
                      <a:pt x="47" y="84"/>
                    </a:lnTo>
                    <a:lnTo>
                      <a:pt x="45" y="76"/>
                    </a:lnTo>
                    <a:lnTo>
                      <a:pt x="55" y="71"/>
                    </a:lnTo>
                    <a:lnTo>
                      <a:pt x="63" y="69"/>
                    </a:lnTo>
                    <a:lnTo>
                      <a:pt x="71" y="79"/>
                    </a:lnTo>
                    <a:lnTo>
                      <a:pt x="83" y="74"/>
                    </a:lnTo>
                    <a:lnTo>
                      <a:pt x="92" y="61"/>
                    </a:lnTo>
                    <a:lnTo>
                      <a:pt x="89" y="47"/>
                    </a:lnTo>
                    <a:lnTo>
                      <a:pt x="83" y="41"/>
                    </a:lnTo>
                    <a:lnTo>
                      <a:pt x="78" y="30"/>
                    </a:lnTo>
                    <a:lnTo>
                      <a:pt x="82" y="23"/>
                    </a:lnTo>
                    <a:lnTo>
                      <a:pt x="78" y="14"/>
                    </a:lnTo>
                    <a:lnTo>
                      <a:pt x="68" y="13"/>
                    </a:lnTo>
                    <a:lnTo>
                      <a:pt x="68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1" name="Freeform 168">
                <a:extLst>
                  <a:ext uri="{FF2B5EF4-FFF2-40B4-BE49-F238E27FC236}">
                    <a16:creationId xmlns:a16="http://schemas.microsoft.com/office/drawing/2014/main" id="{A27CEE84-F2CE-4C4E-AD3C-515611763E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8" y="2494"/>
                <a:ext cx="129" cy="143"/>
              </a:xfrm>
              <a:custGeom>
                <a:avLst/>
                <a:gdLst>
                  <a:gd name="T0" fmla="*/ 112 w 115"/>
                  <a:gd name="T1" fmla="*/ 7 h 127"/>
                  <a:gd name="T2" fmla="*/ 114 w 115"/>
                  <a:gd name="T3" fmla="*/ 0 h 127"/>
                  <a:gd name="T4" fmla="*/ 104 w 115"/>
                  <a:gd name="T5" fmla="*/ 0 h 127"/>
                  <a:gd name="T6" fmla="*/ 67 w 115"/>
                  <a:gd name="T7" fmla="*/ 0 h 127"/>
                  <a:gd name="T8" fmla="*/ 61 w 115"/>
                  <a:gd name="T9" fmla="*/ 9 h 127"/>
                  <a:gd name="T10" fmla="*/ 44 w 115"/>
                  <a:gd name="T11" fmla="*/ 6 h 127"/>
                  <a:gd name="T12" fmla="*/ 41 w 115"/>
                  <a:gd name="T13" fmla="*/ 25 h 127"/>
                  <a:gd name="T14" fmla="*/ 35 w 115"/>
                  <a:gd name="T15" fmla="*/ 35 h 127"/>
                  <a:gd name="T16" fmla="*/ 23 w 115"/>
                  <a:gd name="T17" fmla="*/ 40 h 127"/>
                  <a:gd name="T18" fmla="*/ 16 w 115"/>
                  <a:gd name="T19" fmla="*/ 46 h 127"/>
                  <a:gd name="T20" fmla="*/ 18 w 115"/>
                  <a:gd name="T21" fmla="*/ 68 h 127"/>
                  <a:gd name="T22" fmla="*/ 8 w 115"/>
                  <a:gd name="T23" fmla="*/ 70 h 127"/>
                  <a:gd name="T24" fmla="*/ 12 w 115"/>
                  <a:gd name="T25" fmla="*/ 81 h 127"/>
                  <a:gd name="T26" fmla="*/ 5 w 115"/>
                  <a:gd name="T27" fmla="*/ 86 h 127"/>
                  <a:gd name="T28" fmla="*/ 0 w 115"/>
                  <a:gd name="T29" fmla="*/ 100 h 127"/>
                  <a:gd name="T30" fmla="*/ 1 w 115"/>
                  <a:gd name="T31" fmla="*/ 121 h 127"/>
                  <a:gd name="T32" fmla="*/ 7 w 115"/>
                  <a:gd name="T33" fmla="*/ 123 h 127"/>
                  <a:gd name="T34" fmla="*/ 27 w 115"/>
                  <a:gd name="T35" fmla="*/ 126 h 127"/>
                  <a:gd name="T36" fmla="*/ 41 w 115"/>
                  <a:gd name="T37" fmla="*/ 126 h 127"/>
                  <a:gd name="T38" fmla="*/ 41 w 115"/>
                  <a:gd name="T39" fmla="*/ 105 h 127"/>
                  <a:gd name="T40" fmla="*/ 45 w 115"/>
                  <a:gd name="T41" fmla="*/ 92 h 127"/>
                  <a:gd name="T42" fmla="*/ 53 w 115"/>
                  <a:gd name="T43" fmla="*/ 84 h 127"/>
                  <a:gd name="T44" fmla="*/ 67 w 115"/>
                  <a:gd name="T45" fmla="*/ 88 h 127"/>
                  <a:gd name="T46" fmla="*/ 67 w 115"/>
                  <a:gd name="T47" fmla="*/ 39 h 127"/>
                  <a:gd name="T48" fmla="*/ 100 w 115"/>
                  <a:gd name="T49" fmla="*/ 36 h 127"/>
                  <a:gd name="T50" fmla="*/ 107 w 115"/>
                  <a:gd name="T51" fmla="*/ 27 h 127"/>
                  <a:gd name="T52" fmla="*/ 112 w 115"/>
                  <a:gd name="T53" fmla="*/ 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5" h="127">
                    <a:moveTo>
                      <a:pt x="112" y="7"/>
                    </a:moveTo>
                    <a:lnTo>
                      <a:pt x="114" y="0"/>
                    </a:lnTo>
                    <a:lnTo>
                      <a:pt x="104" y="0"/>
                    </a:lnTo>
                    <a:lnTo>
                      <a:pt x="67" y="0"/>
                    </a:lnTo>
                    <a:lnTo>
                      <a:pt x="61" y="9"/>
                    </a:lnTo>
                    <a:lnTo>
                      <a:pt x="44" y="6"/>
                    </a:lnTo>
                    <a:lnTo>
                      <a:pt x="41" y="25"/>
                    </a:lnTo>
                    <a:lnTo>
                      <a:pt x="35" y="35"/>
                    </a:lnTo>
                    <a:lnTo>
                      <a:pt x="23" y="40"/>
                    </a:lnTo>
                    <a:lnTo>
                      <a:pt x="16" y="46"/>
                    </a:lnTo>
                    <a:lnTo>
                      <a:pt x="18" y="68"/>
                    </a:lnTo>
                    <a:lnTo>
                      <a:pt x="8" y="70"/>
                    </a:lnTo>
                    <a:lnTo>
                      <a:pt x="12" y="81"/>
                    </a:lnTo>
                    <a:lnTo>
                      <a:pt x="5" y="86"/>
                    </a:lnTo>
                    <a:lnTo>
                      <a:pt x="0" y="100"/>
                    </a:lnTo>
                    <a:lnTo>
                      <a:pt x="1" y="121"/>
                    </a:lnTo>
                    <a:lnTo>
                      <a:pt x="7" y="123"/>
                    </a:lnTo>
                    <a:lnTo>
                      <a:pt x="27" y="126"/>
                    </a:lnTo>
                    <a:lnTo>
                      <a:pt x="41" y="126"/>
                    </a:lnTo>
                    <a:lnTo>
                      <a:pt x="41" y="105"/>
                    </a:lnTo>
                    <a:lnTo>
                      <a:pt x="45" y="92"/>
                    </a:lnTo>
                    <a:lnTo>
                      <a:pt x="53" y="84"/>
                    </a:lnTo>
                    <a:lnTo>
                      <a:pt x="67" y="88"/>
                    </a:lnTo>
                    <a:lnTo>
                      <a:pt x="67" y="39"/>
                    </a:lnTo>
                    <a:lnTo>
                      <a:pt x="100" y="36"/>
                    </a:lnTo>
                    <a:lnTo>
                      <a:pt x="107" y="27"/>
                    </a:lnTo>
                    <a:lnTo>
                      <a:pt x="112" y="7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2" name="Freeform 169">
                <a:extLst>
                  <a:ext uri="{FF2B5EF4-FFF2-40B4-BE49-F238E27FC236}">
                    <a16:creationId xmlns:a16="http://schemas.microsoft.com/office/drawing/2014/main" id="{FE7F4462-BE01-48DA-B15B-BF6700551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2" y="2718"/>
                <a:ext cx="111" cy="94"/>
              </a:xfrm>
              <a:custGeom>
                <a:avLst/>
                <a:gdLst>
                  <a:gd name="T0" fmla="*/ 17 w 99"/>
                  <a:gd name="T1" fmla="*/ 66 h 84"/>
                  <a:gd name="T2" fmla="*/ 18 w 99"/>
                  <a:gd name="T3" fmla="*/ 77 h 84"/>
                  <a:gd name="T4" fmla="*/ 31 w 99"/>
                  <a:gd name="T5" fmla="*/ 77 h 84"/>
                  <a:gd name="T6" fmla="*/ 36 w 99"/>
                  <a:gd name="T7" fmla="*/ 83 h 84"/>
                  <a:gd name="T8" fmla="*/ 43 w 99"/>
                  <a:gd name="T9" fmla="*/ 74 h 84"/>
                  <a:gd name="T10" fmla="*/ 61 w 99"/>
                  <a:gd name="T11" fmla="*/ 68 h 84"/>
                  <a:gd name="T12" fmla="*/ 81 w 99"/>
                  <a:gd name="T13" fmla="*/ 71 h 84"/>
                  <a:gd name="T14" fmla="*/ 98 w 99"/>
                  <a:gd name="T15" fmla="*/ 71 h 84"/>
                  <a:gd name="T16" fmla="*/ 90 w 99"/>
                  <a:gd name="T17" fmla="*/ 54 h 84"/>
                  <a:gd name="T18" fmla="*/ 82 w 99"/>
                  <a:gd name="T19" fmla="*/ 48 h 84"/>
                  <a:gd name="T20" fmla="*/ 79 w 99"/>
                  <a:gd name="T21" fmla="*/ 36 h 84"/>
                  <a:gd name="T22" fmla="*/ 68 w 99"/>
                  <a:gd name="T23" fmla="*/ 28 h 84"/>
                  <a:gd name="T24" fmla="*/ 57 w 99"/>
                  <a:gd name="T25" fmla="*/ 13 h 84"/>
                  <a:gd name="T26" fmla="*/ 47 w 99"/>
                  <a:gd name="T27" fmla="*/ 8 h 84"/>
                  <a:gd name="T28" fmla="*/ 41 w 99"/>
                  <a:gd name="T29" fmla="*/ 0 h 84"/>
                  <a:gd name="T30" fmla="*/ 28 w 99"/>
                  <a:gd name="T31" fmla="*/ 3 h 84"/>
                  <a:gd name="T32" fmla="*/ 10 w 99"/>
                  <a:gd name="T33" fmla="*/ 24 h 84"/>
                  <a:gd name="T34" fmla="*/ 0 w 99"/>
                  <a:gd name="T35" fmla="*/ 28 h 84"/>
                  <a:gd name="T36" fmla="*/ 11 w 99"/>
                  <a:gd name="T37" fmla="*/ 32 h 84"/>
                  <a:gd name="T38" fmla="*/ 21 w 99"/>
                  <a:gd name="T39" fmla="*/ 44 h 84"/>
                  <a:gd name="T40" fmla="*/ 28 w 99"/>
                  <a:gd name="T41" fmla="*/ 50 h 84"/>
                  <a:gd name="T42" fmla="*/ 19 w 99"/>
                  <a:gd name="T43" fmla="*/ 56 h 84"/>
                  <a:gd name="T44" fmla="*/ 17 w 99"/>
                  <a:gd name="T45" fmla="*/ 6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9" h="84">
                    <a:moveTo>
                      <a:pt x="17" y="66"/>
                    </a:moveTo>
                    <a:lnTo>
                      <a:pt x="18" y="77"/>
                    </a:lnTo>
                    <a:lnTo>
                      <a:pt x="31" y="77"/>
                    </a:lnTo>
                    <a:lnTo>
                      <a:pt x="36" y="83"/>
                    </a:lnTo>
                    <a:lnTo>
                      <a:pt x="43" y="74"/>
                    </a:lnTo>
                    <a:lnTo>
                      <a:pt x="61" y="68"/>
                    </a:lnTo>
                    <a:lnTo>
                      <a:pt x="81" y="71"/>
                    </a:lnTo>
                    <a:lnTo>
                      <a:pt x="98" y="71"/>
                    </a:lnTo>
                    <a:lnTo>
                      <a:pt x="90" y="54"/>
                    </a:lnTo>
                    <a:lnTo>
                      <a:pt x="82" y="48"/>
                    </a:lnTo>
                    <a:lnTo>
                      <a:pt x="79" y="36"/>
                    </a:lnTo>
                    <a:lnTo>
                      <a:pt x="68" y="28"/>
                    </a:lnTo>
                    <a:lnTo>
                      <a:pt x="57" y="13"/>
                    </a:lnTo>
                    <a:lnTo>
                      <a:pt x="47" y="8"/>
                    </a:lnTo>
                    <a:lnTo>
                      <a:pt x="41" y="0"/>
                    </a:lnTo>
                    <a:lnTo>
                      <a:pt x="28" y="3"/>
                    </a:lnTo>
                    <a:lnTo>
                      <a:pt x="10" y="24"/>
                    </a:lnTo>
                    <a:lnTo>
                      <a:pt x="0" y="28"/>
                    </a:lnTo>
                    <a:lnTo>
                      <a:pt x="11" y="32"/>
                    </a:lnTo>
                    <a:lnTo>
                      <a:pt x="21" y="44"/>
                    </a:lnTo>
                    <a:lnTo>
                      <a:pt x="28" y="50"/>
                    </a:lnTo>
                    <a:lnTo>
                      <a:pt x="19" y="56"/>
                    </a:lnTo>
                    <a:lnTo>
                      <a:pt x="17" y="66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3" name="Freeform 170">
                <a:extLst>
                  <a:ext uri="{FF2B5EF4-FFF2-40B4-BE49-F238E27FC236}">
                    <a16:creationId xmlns:a16="http://schemas.microsoft.com/office/drawing/2014/main" id="{F27574DE-E2A4-43DD-83BC-E1C2DB7A3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2313"/>
                <a:ext cx="61" cy="120"/>
              </a:xfrm>
              <a:custGeom>
                <a:avLst/>
                <a:gdLst>
                  <a:gd name="T0" fmla="*/ 29 w 55"/>
                  <a:gd name="T1" fmla="*/ 106 h 107"/>
                  <a:gd name="T2" fmla="*/ 22 w 55"/>
                  <a:gd name="T3" fmla="*/ 105 h 107"/>
                  <a:gd name="T4" fmla="*/ 18 w 55"/>
                  <a:gd name="T5" fmla="*/ 89 h 107"/>
                  <a:gd name="T6" fmla="*/ 5 w 55"/>
                  <a:gd name="T7" fmla="*/ 85 h 107"/>
                  <a:gd name="T8" fmla="*/ 0 w 55"/>
                  <a:gd name="T9" fmla="*/ 68 h 107"/>
                  <a:gd name="T10" fmla="*/ 3 w 55"/>
                  <a:gd name="T11" fmla="*/ 53 h 107"/>
                  <a:gd name="T12" fmla="*/ 17 w 55"/>
                  <a:gd name="T13" fmla="*/ 48 h 107"/>
                  <a:gd name="T14" fmla="*/ 9 w 55"/>
                  <a:gd name="T15" fmla="*/ 37 h 107"/>
                  <a:gd name="T16" fmla="*/ 11 w 55"/>
                  <a:gd name="T17" fmla="*/ 25 h 107"/>
                  <a:gd name="T18" fmla="*/ 18 w 55"/>
                  <a:gd name="T19" fmla="*/ 25 h 107"/>
                  <a:gd name="T20" fmla="*/ 15 w 55"/>
                  <a:gd name="T21" fmla="*/ 7 h 107"/>
                  <a:gd name="T22" fmla="*/ 25 w 55"/>
                  <a:gd name="T23" fmla="*/ 1 h 107"/>
                  <a:gd name="T24" fmla="*/ 32 w 55"/>
                  <a:gd name="T25" fmla="*/ 0 h 107"/>
                  <a:gd name="T26" fmla="*/ 39 w 55"/>
                  <a:gd name="T27" fmla="*/ 5 h 107"/>
                  <a:gd name="T28" fmla="*/ 51 w 55"/>
                  <a:gd name="T29" fmla="*/ 9 h 107"/>
                  <a:gd name="T30" fmla="*/ 47 w 55"/>
                  <a:gd name="T31" fmla="*/ 21 h 107"/>
                  <a:gd name="T32" fmla="*/ 52 w 55"/>
                  <a:gd name="T33" fmla="*/ 30 h 107"/>
                  <a:gd name="T34" fmla="*/ 51 w 55"/>
                  <a:gd name="T35" fmla="*/ 47 h 107"/>
                  <a:gd name="T36" fmla="*/ 40 w 55"/>
                  <a:gd name="T37" fmla="*/ 50 h 107"/>
                  <a:gd name="T38" fmla="*/ 40 w 55"/>
                  <a:gd name="T39" fmla="*/ 64 h 107"/>
                  <a:gd name="T40" fmla="*/ 47 w 55"/>
                  <a:gd name="T41" fmla="*/ 67 h 107"/>
                  <a:gd name="T42" fmla="*/ 54 w 55"/>
                  <a:gd name="T43" fmla="*/ 75 h 107"/>
                  <a:gd name="T44" fmla="*/ 51 w 55"/>
                  <a:gd name="T45" fmla="*/ 97 h 107"/>
                  <a:gd name="T46" fmla="*/ 43 w 55"/>
                  <a:gd name="T47" fmla="*/ 99 h 107"/>
                  <a:gd name="T48" fmla="*/ 29 w 55"/>
                  <a:gd name="T49" fmla="*/ 106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5" h="107">
                    <a:moveTo>
                      <a:pt x="29" y="106"/>
                    </a:moveTo>
                    <a:lnTo>
                      <a:pt x="22" y="105"/>
                    </a:lnTo>
                    <a:lnTo>
                      <a:pt x="18" y="89"/>
                    </a:lnTo>
                    <a:lnTo>
                      <a:pt x="5" y="85"/>
                    </a:lnTo>
                    <a:lnTo>
                      <a:pt x="0" y="68"/>
                    </a:lnTo>
                    <a:lnTo>
                      <a:pt x="3" y="53"/>
                    </a:lnTo>
                    <a:lnTo>
                      <a:pt x="17" y="48"/>
                    </a:lnTo>
                    <a:lnTo>
                      <a:pt x="9" y="37"/>
                    </a:lnTo>
                    <a:lnTo>
                      <a:pt x="11" y="25"/>
                    </a:lnTo>
                    <a:lnTo>
                      <a:pt x="18" y="25"/>
                    </a:lnTo>
                    <a:lnTo>
                      <a:pt x="15" y="7"/>
                    </a:lnTo>
                    <a:lnTo>
                      <a:pt x="25" y="1"/>
                    </a:lnTo>
                    <a:lnTo>
                      <a:pt x="32" y="0"/>
                    </a:lnTo>
                    <a:lnTo>
                      <a:pt x="39" y="5"/>
                    </a:lnTo>
                    <a:lnTo>
                      <a:pt x="51" y="9"/>
                    </a:lnTo>
                    <a:lnTo>
                      <a:pt x="47" y="21"/>
                    </a:lnTo>
                    <a:lnTo>
                      <a:pt x="52" y="30"/>
                    </a:lnTo>
                    <a:lnTo>
                      <a:pt x="51" y="47"/>
                    </a:lnTo>
                    <a:lnTo>
                      <a:pt x="40" y="50"/>
                    </a:lnTo>
                    <a:lnTo>
                      <a:pt x="40" y="64"/>
                    </a:lnTo>
                    <a:lnTo>
                      <a:pt x="47" y="67"/>
                    </a:lnTo>
                    <a:lnTo>
                      <a:pt x="54" y="75"/>
                    </a:lnTo>
                    <a:lnTo>
                      <a:pt x="51" y="97"/>
                    </a:lnTo>
                    <a:lnTo>
                      <a:pt x="43" y="99"/>
                    </a:lnTo>
                    <a:lnTo>
                      <a:pt x="29" y="106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4" name="Freeform 171">
                <a:extLst>
                  <a:ext uri="{FF2B5EF4-FFF2-40B4-BE49-F238E27FC236}">
                    <a16:creationId xmlns:a16="http://schemas.microsoft.com/office/drawing/2014/main" id="{A0A8BE97-30E7-4A89-BFDC-03EDD6B2C8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4" y="2457"/>
                <a:ext cx="138" cy="73"/>
              </a:xfrm>
              <a:custGeom>
                <a:avLst/>
                <a:gdLst>
                  <a:gd name="T0" fmla="*/ 0 w 122"/>
                  <a:gd name="T1" fmla="*/ 0 h 65"/>
                  <a:gd name="T2" fmla="*/ 16 w 122"/>
                  <a:gd name="T3" fmla="*/ 0 h 65"/>
                  <a:gd name="T4" fmla="*/ 29 w 122"/>
                  <a:gd name="T5" fmla="*/ 12 h 65"/>
                  <a:gd name="T6" fmla="*/ 43 w 122"/>
                  <a:gd name="T7" fmla="*/ 20 h 65"/>
                  <a:gd name="T8" fmla="*/ 49 w 122"/>
                  <a:gd name="T9" fmla="*/ 10 h 65"/>
                  <a:gd name="T10" fmla="*/ 50 w 122"/>
                  <a:gd name="T11" fmla="*/ 26 h 65"/>
                  <a:gd name="T12" fmla="*/ 61 w 122"/>
                  <a:gd name="T13" fmla="*/ 33 h 65"/>
                  <a:gd name="T14" fmla="*/ 76 w 122"/>
                  <a:gd name="T15" fmla="*/ 41 h 65"/>
                  <a:gd name="T16" fmla="*/ 107 w 122"/>
                  <a:gd name="T17" fmla="*/ 42 h 65"/>
                  <a:gd name="T18" fmla="*/ 121 w 122"/>
                  <a:gd name="T19" fmla="*/ 48 h 65"/>
                  <a:gd name="T20" fmla="*/ 113 w 122"/>
                  <a:gd name="T21" fmla="*/ 63 h 65"/>
                  <a:gd name="T22" fmla="*/ 100 w 122"/>
                  <a:gd name="T23" fmla="*/ 63 h 65"/>
                  <a:gd name="T24" fmla="*/ 84 w 122"/>
                  <a:gd name="T25" fmla="*/ 64 h 65"/>
                  <a:gd name="T26" fmla="*/ 72 w 122"/>
                  <a:gd name="T27" fmla="*/ 56 h 65"/>
                  <a:gd name="T28" fmla="*/ 54 w 122"/>
                  <a:gd name="T29" fmla="*/ 53 h 65"/>
                  <a:gd name="T30" fmla="*/ 32 w 122"/>
                  <a:gd name="T31" fmla="*/ 44 h 65"/>
                  <a:gd name="T32" fmla="*/ 14 w 122"/>
                  <a:gd name="T33" fmla="*/ 39 h 65"/>
                  <a:gd name="T34" fmla="*/ 3 w 122"/>
                  <a:gd name="T35" fmla="*/ 25 h 65"/>
                  <a:gd name="T36" fmla="*/ 0 w 122"/>
                  <a:gd name="T3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2" h="65">
                    <a:moveTo>
                      <a:pt x="0" y="0"/>
                    </a:moveTo>
                    <a:lnTo>
                      <a:pt x="16" y="0"/>
                    </a:lnTo>
                    <a:lnTo>
                      <a:pt x="29" y="12"/>
                    </a:lnTo>
                    <a:lnTo>
                      <a:pt x="43" y="20"/>
                    </a:lnTo>
                    <a:lnTo>
                      <a:pt x="49" y="10"/>
                    </a:lnTo>
                    <a:lnTo>
                      <a:pt x="50" y="26"/>
                    </a:lnTo>
                    <a:lnTo>
                      <a:pt x="61" y="33"/>
                    </a:lnTo>
                    <a:lnTo>
                      <a:pt x="76" y="41"/>
                    </a:lnTo>
                    <a:lnTo>
                      <a:pt x="107" y="42"/>
                    </a:lnTo>
                    <a:lnTo>
                      <a:pt x="121" y="48"/>
                    </a:lnTo>
                    <a:lnTo>
                      <a:pt x="113" y="63"/>
                    </a:lnTo>
                    <a:lnTo>
                      <a:pt x="100" y="63"/>
                    </a:lnTo>
                    <a:lnTo>
                      <a:pt x="84" y="64"/>
                    </a:lnTo>
                    <a:lnTo>
                      <a:pt x="72" y="56"/>
                    </a:lnTo>
                    <a:lnTo>
                      <a:pt x="54" y="53"/>
                    </a:lnTo>
                    <a:lnTo>
                      <a:pt x="32" y="44"/>
                    </a:lnTo>
                    <a:lnTo>
                      <a:pt x="14" y="39"/>
                    </a:lnTo>
                    <a:lnTo>
                      <a:pt x="3" y="25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5" name="Freeform 172">
                <a:extLst>
                  <a:ext uri="{FF2B5EF4-FFF2-40B4-BE49-F238E27FC236}">
                    <a16:creationId xmlns:a16="http://schemas.microsoft.com/office/drawing/2014/main" id="{F139EEC8-2864-48BE-BB0F-1562A07FA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2" y="2629"/>
                <a:ext cx="129" cy="222"/>
              </a:xfrm>
              <a:custGeom>
                <a:avLst/>
                <a:gdLst>
                  <a:gd name="T0" fmla="*/ 14 w 115"/>
                  <a:gd name="T1" fmla="*/ 178 h 199"/>
                  <a:gd name="T2" fmla="*/ 21 w 115"/>
                  <a:gd name="T3" fmla="*/ 167 h 199"/>
                  <a:gd name="T4" fmla="*/ 30 w 115"/>
                  <a:gd name="T5" fmla="*/ 146 h 199"/>
                  <a:gd name="T6" fmla="*/ 18 w 115"/>
                  <a:gd name="T7" fmla="*/ 135 h 199"/>
                  <a:gd name="T8" fmla="*/ 13 w 115"/>
                  <a:gd name="T9" fmla="*/ 116 h 199"/>
                  <a:gd name="T10" fmla="*/ 11 w 115"/>
                  <a:gd name="T11" fmla="*/ 105 h 199"/>
                  <a:gd name="T12" fmla="*/ 15 w 115"/>
                  <a:gd name="T13" fmla="*/ 79 h 199"/>
                  <a:gd name="T14" fmla="*/ 3 w 115"/>
                  <a:gd name="T15" fmla="*/ 65 h 199"/>
                  <a:gd name="T16" fmla="*/ 0 w 115"/>
                  <a:gd name="T17" fmla="*/ 54 h 199"/>
                  <a:gd name="T18" fmla="*/ 2 w 115"/>
                  <a:gd name="T19" fmla="*/ 27 h 199"/>
                  <a:gd name="T20" fmla="*/ 16 w 115"/>
                  <a:gd name="T21" fmla="*/ 21 h 199"/>
                  <a:gd name="T22" fmla="*/ 25 w 115"/>
                  <a:gd name="T23" fmla="*/ 14 h 199"/>
                  <a:gd name="T24" fmla="*/ 32 w 115"/>
                  <a:gd name="T25" fmla="*/ 0 h 199"/>
                  <a:gd name="T26" fmla="*/ 34 w 115"/>
                  <a:gd name="T27" fmla="*/ 13 h 199"/>
                  <a:gd name="T28" fmla="*/ 38 w 115"/>
                  <a:gd name="T29" fmla="*/ 27 h 199"/>
                  <a:gd name="T30" fmla="*/ 45 w 115"/>
                  <a:gd name="T31" fmla="*/ 34 h 199"/>
                  <a:gd name="T32" fmla="*/ 56 w 115"/>
                  <a:gd name="T33" fmla="*/ 38 h 199"/>
                  <a:gd name="T34" fmla="*/ 70 w 115"/>
                  <a:gd name="T35" fmla="*/ 58 h 199"/>
                  <a:gd name="T36" fmla="*/ 82 w 115"/>
                  <a:gd name="T37" fmla="*/ 48 h 199"/>
                  <a:gd name="T38" fmla="*/ 93 w 115"/>
                  <a:gd name="T39" fmla="*/ 60 h 199"/>
                  <a:gd name="T40" fmla="*/ 101 w 115"/>
                  <a:gd name="T41" fmla="*/ 80 h 199"/>
                  <a:gd name="T42" fmla="*/ 106 w 115"/>
                  <a:gd name="T43" fmla="*/ 91 h 199"/>
                  <a:gd name="T44" fmla="*/ 114 w 115"/>
                  <a:gd name="T45" fmla="*/ 93 h 199"/>
                  <a:gd name="T46" fmla="*/ 114 w 115"/>
                  <a:gd name="T47" fmla="*/ 116 h 199"/>
                  <a:gd name="T48" fmla="*/ 99 w 115"/>
                  <a:gd name="T49" fmla="*/ 119 h 199"/>
                  <a:gd name="T50" fmla="*/ 85 w 115"/>
                  <a:gd name="T51" fmla="*/ 110 h 199"/>
                  <a:gd name="T52" fmla="*/ 70 w 115"/>
                  <a:gd name="T53" fmla="*/ 124 h 199"/>
                  <a:gd name="T54" fmla="*/ 64 w 115"/>
                  <a:gd name="T55" fmla="*/ 141 h 199"/>
                  <a:gd name="T56" fmla="*/ 50 w 115"/>
                  <a:gd name="T57" fmla="*/ 139 h 199"/>
                  <a:gd name="T58" fmla="*/ 40 w 115"/>
                  <a:gd name="T59" fmla="*/ 170 h 199"/>
                  <a:gd name="T60" fmla="*/ 49 w 115"/>
                  <a:gd name="T61" fmla="*/ 185 h 199"/>
                  <a:gd name="T62" fmla="*/ 36 w 115"/>
                  <a:gd name="T63" fmla="*/ 198 h 199"/>
                  <a:gd name="T64" fmla="*/ 25 w 115"/>
                  <a:gd name="T65" fmla="*/ 190 h 199"/>
                  <a:gd name="T66" fmla="*/ 14 w 115"/>
                  <a:gd name="T67" fmla="*/ 178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5" h="199">
                    <a:moveTo>
                      <a:pt x="14" y="178"/>
                    </a:moveTo>
                    <a:lnTo>
                      <a:pt x="21" y="167"/>
                    </a:lnTo>
                    <a:lnTo>
                      <a:pt x="30" y="146"/>
                    </a:lnTo>
                    <a:lnTo>
                      <a:pt x="18" y="135"/>
                    </a:lnTo>
                    <a:lnTo>
                      <a:pt x="13" y="116"/>
                    </a:lnTo>
                    <a:lnTo>
                      <a:pt x="11" y="105"/>
                    </a:lnTo>
                    <a:lnTo>
                      <a:pt x="15" y="79"/>
                    </a:lnTo>
                    <a:lnTo>
                      <a:pt x="3" y="65"/>
                    </a:lnTo>
                    <a:lnTo>
                      <a:pt x="0" y="54"/>
                    </a:lnTo>
                    <a:lnTo>
                      <a:pt x="2" y="27"/>
                    </a:lnTo>
                    <a:lnTo>
                      <a:pt x="16" y="21"/>
                    </a:lnTo>
                    <a:lnTo>
                      <a:pt x="25" y="14"/>
                    </a:lnTo>
                    <a:lnTo>
                      <a:pt x="32" y="0"/>
                    </a:lnTo>
                    <a:lnTo>
                      <a:pt x="34" y="13"/>
                    </a:lnTo>
                    <a:lnTo>
                      <a:pt x="38" y="27"/>
                    </a:lnTo>
                    <a:lnTo>
                      <a:pt x="45" y="34"/>
                    </a:lnTo>
                    <a:lnTo>
                      <a:pt x="56" y="38"/>
                    </a:lnTo>
                    <a:lnTo>
                      <a:pt x="70" y="58"/>
                    </a:lnTo>
                    <a:lnTo>
                      <a:pt x="82" y="48"/>
                    </a:lnTo>
                    <a:lnTo>
                      <a:pt x="93" y="60"/>
                    </a:lnTo>
                    <a:lnTo>
                      <a:pt x="101" y="80"/>
                    </a:lnTo>
                    <a:lnTo>
                      <a:pt x="106" y="91"/>
                    </a:lnTo>
                    <a:lnTo>
                      <a:pt x="114" y="93"/>
                    </a:lnTo>
                    <a:lnTo>
                      <a:pt x="114" y="116"/>
                    </a:lnTo>
                    <a:lnTo>
                      <a:pt x="99" y="119"/>
                    </a:lnTo>
                    <a:lnTo>
                      <a:pt x="85" y="110"/>
                    </a:lnTo>
                    <a:lnTo>
                      <a:pt x="70" y="124"/>
                    </a:lnTo>
                    <a:lnTo>
                      <a:pt x="64" y="141"/>
                    </a:lnTo>
                    <a:lnTo>
                      <a:pt x="50" y="139"/>
                    </a:lnTo>
                    <a:lnTo>
                      <a:pt x="40" y="170"/>
                    </a:lnTo>
                    <a:lnTo>
                      <a:pt x="49" y="185"/>
                    </a:lnTo>
                    <a:lnTo>
                      <a:pt x="36" y="198"/>
                    </a:lnTo>
                    <a:lnTo>
                      <a:pt x="25" y="190"/>
                    </a:lnTo>
                    <a:lnTo>
                      <a:pt x="14" y="178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6" name="Freeform 173">
                <a:extLst>
                  <a:ext uri="{FF2B5EF4-FFF2-40B4-BE49-F238E27FC236}">
                    <a16:creationId xmlns:a16="http://schemas.microsoft.com/office/drawing/2014/main" id="{DA36A09C-809B-4860-8758-4D71EF42C2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9" y="1346"/>
                <a:ext cx="217" cy="185"/>
              </a:xfrm>
              <a:custGeom>
                <a:avLst/>
                <a:gdLst>
                  <a:gd name="T0" fmla="*/ 47 w 193"/>
                  <a:gd name="T1" fmla="*/ 94 h 166"/>
                  <a:gd name="T2" fmla="*/ 58 w 193"/>
                  <a:gd name="T3" fmla="*/ 84 h 166"/>
                  <a:gd name="T4" fmla="*/ 63 w 193"/>
                  <a:gd name="T5" fmla="*/ 77 h 166"/>
                  <a:gd name="T6" fmla="*/ 80 w 193"/>
                  <a:gd name="T7" fmla="*/ 64 h 166"/>
                  <a:gd name="T8" fmla="*/ 100 w 193"/>
                  <a:gd name="T9" fmla="*/ 53 h 166"/>
                  <a:gd name="T10" fmla="*/ 122 w 193"/>
                  <a:gd name="T11" fmla="*/ 37 h 166"/>
                  <a:gd name="T12" fmla="*/ 135 w 193"/>
                  <a:gd name="T13" fmla="*/ 32 h 166"/>
                  <a:gd name="T14" fmla="*/ 162 w 193"/>
                  <a:gd name="T15" fmla="*/ 23 h 166"/>
                  <a:gd name="T16" fmla="*/ 183 w 193"/>
                  <a:gd name="T17" fmla="*/ 16 h 166"/>
                  <a:gd name="T18" fmla="*/ 192 w 193"/>
                  <a:gd name="T19" fmla="*/ 11 h 166"/>
                  <a:gd name="T20" fmla="*/ 185 w 193"/>
                  <a:gd name="T21" fmla="*/ 2 h 166"/>
                  <a:gd name="T22" fmla="*/ 161 w 193"/>
                  <a:gd name="T23" fmla="*/ 0 h 166"/>
                  <a:gd name="T24" fmla="*/ 145 w 193"/>
                  <a:gd name="T25" fmla="*/ 13 h 166"/>
                  <a:gd name="T26" fmla="*/ 122 w 193"/>
                  <a:gd name="T27" fmla="*/ 19 h 166"/>
                  <a:gd name="T28" fmla="*/ 94 w 193"/>
                  <a:gd name="T29" fmla="*/ 20 h 166"/>
                  <a:gd name="T30" fmla="*/ 80 w 193"/>
                  <a:gd name="T31" fmla="*/ 32 h 166"/>
                  <a:gd name="T32" fmla="*/ 64 w 193"/>
                  <a:gd name="T33" fmla="*/ 32 h 166"/>
                  <a:gd name="T34" fmla="*/ 57 w 193"/>
                  <a:gd name="T35" fmla="*/ 44 h 166"/>
                  <a:gd name="T36" fmla="*/ 32 w 193"/>
                  <a:gd name="T37" fmla="*/ 49 h 166"/>
                  <a:gd name="T38" fmla="*/ 28 w 193"/>
                  <a:gd name="T39" fmla="*/ 67 h 166"/>
                  <a:gd name="T40" fmla="*/ 27 w 193"/>
                  <a:gd name="T41" fmla="*/ 77 h 166"/>
                  <a:gd name="T42" fmla="*/ 16 w 193"/>
                  <a:gd name="T43" fmla="*/ 76 h 166"/>
                  <a:gd name="T44" fmla="*/ 16 w 193"/>
                  <a:gd name="T45" fmla="*/ 79 h 166"/>
                  <a:gd name="T46" fmla="*/ 17 w 193"/>
                  <a:gd name="T47" fmla="*/ 84 h 166"/>
                  <a:gd name="T48" fmla="*/ 13 w 193"/>
                  <a:gd name="T49" fmla="*/ 92 h 166"/>
                  <a:gd name="T50" fmla="*/ 6 w 193"/>
                  <a:gd name="T51" fmla="*/ 97 h 166"/>
                  <a:gd name="T52" fmla="*/ 2 w 193"/>
                  <a:gd name="T53" fmla="*/ 113 h 166"/>
                  <a:gd name="T54" fmla="*/ 0 w 193"/>
                  <a:gd name="T55" fmla="*/ 132 h 166"/>
                  <a:gd name="T56" fmla="*/ 12 w 193"/>
                  <a:gd name="T57" fmla="*/ 139 h 166"/>
                  <a:gd name="T58" fmla="*/ 23 w 193"/>
                  <a:gd name="T59" fmla="*/ 162 h 166"/>
                  <a:gd name="T60" fmla="*/ 41 w 193"/>
                  <a:gd name="T61" fmla="*/ 165 h 166"/>
                  <a:gd name="T62" fmla="*/ 66 w 193"/>
                  <a:gd name="T63" fmla="*/ 162 h 166"/>
                  <a:gd name="T64" fmla="*/ 68 w 193"/>
                  <a:gd name="T65" fmla="*/ 152 h 166"/>
                  <a:gd name="T66" fmla="*/ 53 w 193"/>
                  <a:gd name="T67" fmla="*/ 144 h 166"/>
                  <a:gd name="T68" fmla="*/ 43 w 193"/>
                  <a:gd name="T69" fmla="*/ 134 h 166"/>
                  <a:gd name="T70" fmla="*/ 43 w 193"/>
                  <a:gd name="T71" fmla="*/ 114 h 166"/>
                  <a:gd name="T72" fmla="*/ 47 w 193"/>
                  <a:gd name="T73" fmla="*/ 98 h 166"/>
                  <a:gd name="T74" fmla="*/ 47 w 193"/>
                  <a:gd name="T75" fmla="*/ 94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3" h="166">
                    <a:moveTo>
                      <a:pt x="47" y="94"/>
                    </a:moveTo>
                    <a:lnTo>
                      <a:pt x="58" y="84"/>
                    </a:lnTo>
                    <a:lnTo>
                      <a:pt x="63" y="77"/>
                    </a:lnTo>
                    <a:lnTo>
                      <a:pt x="80" y="64"/>
                    </a:lnTo>
                    <a:lnTo>
                      <a:pt x="100" y="53"/>
                    </a:lnTo>
                    <a:lnTo>
                      <a:pt x="122" y="37"/>
                    </a:lnTo>
                    <a:lnTo>
                      <a:pt x="135" y="32"/>
                    </a:lnTo>
                    <a:lnTo>
                      <a:pt x="162" y="23"/>
                    </a:lnTo>
                    <a:lnTo>
                      <a:pt x="183" y="16"/>
                    </a:lnTo>
                    <a:lnTo>
                      <a:pt x="192" y="11"/>
                    </a:lnTo>
                    <a:lnTo>
                      <a:pt x="185" y="2"/>
                    </a:lnTo>
                    <a:lnTo>
                      <a:pt x="161" y="0"/>
                    </a:lnTo>
                    <a:lnTo>
                      <a:pt x="145" y="13"/>
                    </a:lnTo>
                    <a:lnTo>
                      <a:pt x="122" y="19"/>
                    </a:lnTo>
                    <a:lnTo>
                      <a:pt x="94" y="20"/>
                    </a:lnTo>
                    <a:lnTo>
                      <a:pt x="80" y="32"/>
                    </a:lnTo>
                    <a:lnTo>
                      <a:pt x="64" y="32"/>
                    </a:lnTo>
                    <a:lnTo>
                      <a:pt x="57" y="44"/>
                    </a:lnTo>
                    <a:lnTo>
                      <a:pt x="32" y="49"/>
                    </a:lnTo>
                    <a:lnTo>
                      <a:pt x="28" y="67"/>
                    </a:lnTo>
                    <a:lnTo>
                      <a:pt x="27" y="77"/>
                    </a:lnTo>
                    <a:lnTo>
                      <a:pt x="16" y="76"/>
                    </a:lnTo>
                    <a:lnTo>
                      <a:pt x="16" y="79"/>
                    </a:lnTo>
                    <a:lnTo>
                      <a:pt x="17" y="84"/>
                    </a:lnTo>
                    <a:lnTo>
                      <a:pt x="13" y="92"/>
                    </a:lnTo>
                    <a:lnTo>
                      <a:pt x="6" y="97"/>
                    </a:lnTo>
                    <a:lnTo>
                      <a:pt x="2" y="113"/>
                    </a:lnTo>
                    <a:lnTo>
                      <a:pt x="0" y="132"/>
                    </a:lnTo>
                    <a:lnTo>
                      <a:pt x="12" y="139"/>
                    </a:lnTo>
                    <a:lnTo>
                      <a:pt x="23" y="162"/>
                    </a:lnTo>
                    <a:lnTo>
                      <a:pt x="41" y="165"/>
                    </a:lnTo>
                    <a:lnTo>
                      <a:pt x="66" y="162"/>
                    </a:lnTo>
                    <a:lnTo>
                      <a:pt x="68" y="152"/>
                    </a:lnTo>
                    <a:lnTo>
                      <a:pt x="53" y="144"/>
                    </a:lnTo>
                    <a:lnTo>
                      <a:pt x="43" y="134"/>
                    </a:lnTo>
                    <a:lnTo>
                      <a:pt x="43" y="114"/>
                    </a:lnTo>
                    <a:lnTo>
                      <a:pt x="47" y="98"/>
                    </a:lnTo>
                    <a:lnTo>
                      <a:pt x="47" y="9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7" name="Freeform 174">
                <a:extLst>
                  <a:ext uri="{FF2B5EF4-FFF2-40B4-BE49-F238E27FC236}">
                    <a16:creationId xmlns:a16="http://schemas.microsoft.com/office/drawing/2014/main" id="{07765AD4-1671-46C9-A441-95481FE26C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" y="1199"/>
                <a:ext cx="76" cy="58"/>
              </a:xfrm>
              <a:custGeom>
                <a:avLst/>
                <a:gdLst>
                  <a:gd name="T0" fmla="*/ 33 w 67"/>
                  <a:gd name="T1" fmla="*/ 7 h 52"/>
                  <a:gd name="T2" fmla="*/ 22 w 67"/>
                  <a:gd name="T3" fmla="*/ 17 h 52"/>
                  <a:gd name="T4" fmla="*/ 11 w 67"/>
                  <a:gd name="T5" fmla="*/ 19 h 52"/>
                  <a:gd name="T6" fmla="*/ 0 w 67"/>
                  <a:gd name="T7" fmla="*/ 26 h 52"/>
                  <a:gd name="T8" fmla="*/ 8 w 67"/>
                  <a:gd name="T9" fmla="*/ 40 h 52"/>
                  <a:gd name="T10" fmla="*/ 25 w 67"/>
                  <a:gd name="T11" fmla="*/ 51 h 52"/>
                  <a:gd name="T12" fmla="*/ 48 w 67"/>
                  <a:gd name="T13" fmla="*/ 41 h 52"/>
                  <a:gd name="T14" fmla="*/ 66 w 67"/>
                  <a:gd name="T15" fmla="*/ 32 h 52"/>
                  <a:gd name="T16" fmla="*/ 62 w 67"/>
                  <a:gd name="T17" fmla="*/ 11 h 52"/>
                  <a:gd name="T18" fmla="*/ 43 w 67"/>
                  <a:gd name="T19" fmla="*/ 0 h 52"/>
                  <a:gd name="T20" fmla="*/ 33 w 67"/>
                  <a:gd name="T21" fmla="*/ 7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7" h="52">
                    <a:moveTo>
                      <a:pt x="33" y="7"/>
                    </a:moveTo>
                    <a:lnTo>
                      <a:pt x="22" y="17"/>
                    </a:lnTo>
                    <a:lnTo>
                      <a:pt x="11" y="19"/>
                    </a:lnTo>
                    <a:lnTo>
                      <a:pt x="0" y="26"/>
                    </a:lnTo>
                    <a:lnTo>
                      <a:pt x="8" y="40"/>
                    </a:lnTo>
                    <a:lnTo>
                      <a:pt x="25" y="51"/>
                    </a:lnTo>
                    <a:lnTo>
                      <a:pt x="48" y="41"/>
                    </a:lnTo>
                    <a:lnTo>
                      <a:pt x="66" y="32"/>
                    </a:lnTo>
                    <a:lnTo>
                      <a:pt x="62" y="11"/>
                    </a:lnTo>
                    <a:lnTo>
                      <a:pt x="43" y="0"/>
                    </a:lnTo>
                    <a:lnTo>
                      <a:pt x="33" y="7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8" name="Freeform 175">
                <a:extLst>
                  <a:ext uri="{FF2B5EF4-FFF2-40B4-BE49-F238E27FC236}">
                    <a16:creationId xmlns:a16="http://schemas.microsoft.com/office/drawing/2014/main" id="{F0937E4A-E155-44B6-8E1D-5AA5553128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9" y="1241"/>
                <a:ext cx="73" cy="49"/>
              </a:xfrm>
              <a:custGeom>
                <a:avLst/>
                <a:gdLst>
                  <a:gd name="T0" fmla="*/ 17 w 64"/>
                  <a:gd name="T1" fmla="*/ 15 h 44"/>
                  <a:gd name="T2" fmla="*/ 24 w 64"/>
                  <a:gd name="T3" fmla="*/ 3 h 44"/>
                  <a:gd name="T4" fmla="*/ 36 w 64"/>
                  <a:gd name="T5" fmla="*/ 0 h 44"/>
                  <a:gd name="T6" fmla="*/ 46 w 64"/>
                  <a:gd name="T7" fmla="*/ 3 h 44"/>
                  <a:gd name="T8" fmla="*/ 56 w 64"/>
                  <a:gd name="T9" fmla="*/ 17 h 44"/>
                  <a:gd name="T10" fmla="*/ 56 w 64"/>
                  <a:gd name="T11" fmla="*/ 28 h 44"/>
                  <a:gd name="T12" fmla="*/ 63 w 64"/>
                  <a:gd name="T13" fmla="*/ 26 h 44"/>
                  <a:gd name="T14" fmla="*/ 63 w 64"/>
                  <a:gd name="T15" fmla="*/ 37 h 44"/>
                  <a:gd name="T16" fmla="*/ 41 w 64"/>
                  <a:gd name="T17" fmla="*/ 43 h 44"/>
                  <a:gd name="T18" fmla="*/ 21 w 64"/>
                  <a:gd name="T19" fmla="*/ 34 h 44"/>
                  <a:gd name="T20" fmla="*/ 0 w 64"/>
                  <a:gd name="T21" fmla="*/ 26 h 44"/>
                  <a:gd name="T22" fmla="*/ 4 w 64"/>
                  <a:gd name="T23" fmla="*/ 16 h 44"/>
                  <a:gd name="T24" fmla="*/ 17 w 64"/>
                  <a:gd name="T25" fmla="*/ 1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44">
                    <a:moveTo>
                      <a:pt x="17" y="15"/>
                    </a:moveTo>
                    <a:lnTo>
                      <a:pt x="24" y="3"/>
                    </a:lnTo>
                    <a:lnTo>
                      <a:pt x="36" y="0"/>
                    </a:lnTo>
                    <a:lnTo>
                      <a:pt x="46" y="3"/>
                    </a:lnTo>
                    <a:lnTo>
                      <a:pt x="56" y="17"/>
                    </a:lnTo>
                    <a:lnTo>
                      <a:pt x="56" y="28"/>
                    </a:lnTo>
                    <a:lnTo>
                      <a:pt x="63" y="26"/>
                    </a:lnTo>
                    <a:lnTo>
                      <a:pt x="63" y="37"/>
                    </a:lnTo>
                    <a:lnTo>
                      <a:pt x="41" y="43"/>
                    </a:lnTo>
                    <a:lnTo>
                      <a:pt x="21" y="34"/>
                    </a:lnTo>
                    <a:lnTo>
                      <a:pt x="0" y="26"/>
                    </a:lnTo>
                    <a:lnTo>
                      <a:pt x="4" y="16"/>
                    </a:lnTo>
                    <a:lnTo>
                      <a:pt x="17" y="1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9" name="Freeform 176">
                <a:extLst>
                  <a:ext uri="{FF2B5EF4-FFF2-40B4-BE49-F238E27FC236}">
                    <a16:creationId xmlns:a16="http://schemas.microsoft.com/office/drawing/2014/main" id="{02EBFDD9-E901-4FA6-85FA-544E4CDFD0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0" y="1261"/>
                <a:ext cx="60" cy="48"/>
              </a:xfrm>
              <a:custGeom>
                <a:avLst/>
                <a:gdLst>
                  <a:gd name="T0" fmla="*/ 7 w 54"/>
                  <a:gd name="T1" fmla="*/ 19 h 43"/>
                  <a:gd name="T2" fmla="*/ 12 w 54"/>
                  <a:gd name="T3" fmla="*/ 8 h 43"/>
                  <a:gd name="T4" fmla="*/ 24 w 54"/>
                  <a:gd name="T5" fmla="*/ 0 h 43"/>
                  <a:gd name="T6" fmla="*/ 27 w 54"/>
                  <a:gd name="T7" fmla="*/ 8 h 43"/>
                  <a:gd name="T8" fmla="*/ 33 w 54"/>
                  <a:gd name="T9" fmla="*/ 11 h 43"/>
                  <a:gd name="T10" fmla="*/ 41 w 54"/>
                  <a:gd name="T11" fmla="*/ 11 h 43"/>
                  <a:gd name="T12" fmla="*/ 51 w 54"/>
                  <a:gd name="T13" fmla="*/ 15 h 43"/>
                  <a:gd name="T14" fmla="*/ 53 w 54"/>
                  <a:gd name="T15" fmla="*/ 27 h 43"/>
                  <a:gd name="T16" fmla="*/ 46 w 54"/>
                  <a:gd name="T17" fmla="*/ 39 h 43"/>
                  <a:gd name="T18" fmla="*/ 29 w 54"/>
                  <a:gd name="T19" fmla="*/ 42 h 43"/>
                  <a:gd name="T20" fmla="*/ 7 w 54"/>
                  <a:gd name="T21" fmla="*/ 39 h 43"/>
                  <a:gd name="T22" fmla="*/ 0 w 54"/>
                  <a:gd name="T23" fmla="*/ 33 h 43"/>
                  <a:gd name="T24" fmla="*/ 7 w 54"/>
                  <a:gd name="T25" fmla="*/ 1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4" h="43">
                    <a:moveTo>
                      <a:pt x="7" y="19"/>
                    </a:moveTo>
                    <a:lnTo>
                      <a:pt x="12" y="8"/>
                    </a:lnTo>
                    <a:lnTo>
                      <a:pt x="24" y="0"/>
                    </a:lnTo>
                    <a:lnTo>
                      <a:pt x="27" y="8"/>
                    </a:lnTo>
                    <a:lnTo>
                      <a:pt x="33" y="11"/>
                    </a:lnTo>
                    <a:lnTo>
                      <a:pt x="41" y="11"/>
                    </a:lnTo>
                    <a:lnTo>
                      <a:pt x="51" y="15"/>
                    </a:lnTo>
                    <a:lnTo>
                      <a:pt x="53" y="27"/>
                    </a:lnTo>
                    <a:lnTo>
                      <a:pt x="46" y="39"/>
                    </a:lnTo>
                    <a:lnTo>
                      <a:pt x="29" y="42"/>
                    </a:lnTo>
                    <a:lnTo>
                      <a:pt x="7" y="39"/>
                    </a:lnTo>
                    <a:lnTo>
                      <a:pt x="0" y="33"/>
                    </a:lnTo>
                    <a:lnTo>
                      <a:pt x="7" y="1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0" name="Freeform 177">
                <a:extLst>
                  <a:ext uri="{FF2B5EF4-FFF2-40B4-BE49-F238E27FC236}">
                    <a16:creationId xmlns:a16="http://schemas.microsoft.com/office/drawing/2014/main" id="{820CE229-0EEA-41AE-ADCF-0D6DE8A484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8" y="1363"/>
                <a:ext cx="106" cy="49"/>
              </a:xfrm>
              <a:custGeom>
                <a:avLst/>
                <a:gdLst>
                  <a:gd name="T0" fmla="*/ 51 w 94"/>
                  <a:gd name="T1" fmla="*/ 4 h 44"/>
                  <a:gd name="T2" fmla="*/ 49 w 94"/>
                  <a:gd name="T3" fmla="*/ 15 h 44"/>
                  <a:gd name="T4" fmla="*/ 33 w 94"/>
                  <a:gd name="T5" fmla="*/ 15 h 44"/>
                  <a:gd name="T6" fmla="*/ 28 w 94"/>
                  <a:gd name="T7" fmla="*/ 8 h 44"/>
                  <a:gd name="T8" fmla="*/ 13 w 94"/>
                  <a:gd name="T9" fmla="*/ 0 h 44"/>
                  <a:gd name="T10" fmla="*/ 0 w 94"/>
                  <a:gd name="T11" fmla="*/ 8 h 44"/>
                  <a:gd name="T12" fmla="*/ 0 w 94"/>
                  <a:gd name="T13" fmla="*/ 26 h 44"/>
                  <a:gd name="T14" fmla="*/ 19 w 94"/>
                  <a:gd name="T15" fmla="*/ 40 h 44"/>
                  <a:gd name="T16" fmla="*/ 43 w 94"/>
                  <a:gd name="T17" fmla="*/ 43 h 44"/>
                  <a:gd name="T18" fmla="*/ 53 w 94"/>
                  <a:gd name="T19" fmla="*/ 34 h 44"/>
                  <a:gd name="T20" fmla="*/ 67 w 94"/>
                  <a:gd name="T21" fmla="*/ 40 h 44"/>
                  <a:gd name="T22" fmla="*/ 86 w 94"/>
                  <a:gd name="T23" fmla="*/ 39 h 44"/>
                  <a:gd name="T24" fmla="*/ 93 w 94"/>
                  <a:gd name="T25" fmla="*/ 29 h 44"/>
                  <a:gd name="T26" fmla="*/ 79 w 94"/>
                  <a:gd name="T27" fmla="*/ 23 h 44"/>
                  <a:gd name="T28" fmla="*/ 71 w 94"/>
                  <a:gd name="T29" fmla="*/ 8 h 44"/>
                  <a:gd name="T30" fmla="*/ 57 w 94"/>
                  <a:gd name="T31" fmla="*/ 1 h 44"/>
                  <a:gd name="T32" fmla="*/ 51 w 94"/>
                  <a:gd name="T33" fmla="*/ 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4" h="44">
                    <a:moveTo>
                      <a:pt x="51" y="4"/>
                    </a:moveTo>
                    <a:lnTo>
                      <a:pt x="49" y="15"/>
                    </a:lnTo>
                    <a:lnTo>
                      <a:pt x="33" y="15"/>
                    </a:lnTo>
                    <a:lnTo>
                      <a:pt x="28" y="8"/>
                    </a:lnTo>
                    <a:lnTo>
                      <a:pt x="13" y="0"/>
                    </a:lnTo>
                    <a:lnTo>
                      <a:pt x="0" y="8"/>
                    </a:lnTo>
                    <a:lnTo>
                      <a:pt x="0" y="26"/>
                    </a:lnTo>
                    <a:lnTo>
                      <a:pt x="19" y="40"/>
                    </a:lnTo>
                    <a:lnTo>
                      <a:pt x="43" y="43"/>
                    </a:lnTo>
                    <a:lnTo>
                      <a:pt x="53" y="34"/>
                    </a:lnTo>
                    <a:lnTo>
                      <a:pt x="67" y="40"/>
                    </a:lnTo>
                    <a:lnTo>
                      <a:pt x="86" y="39"/>
                    </a:lnTo>
                    <a:lnTo>
                      <a:pt x="93" y="29"/>
                    </a:lnTo>
                    <a:lnTo>
                      <a:pt x="79" y="23"/>
                    </a:lnTo>
                    <a:lnTo>
                      <a:pt x="71" y="8"/>
                    </a:lnTo>
                    <a:lnTo>
                      <a:pt x="57" y="1"/>
                    </a:lnTo>
                    <a:lnTo>
                      <a:pt x="51" y="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1" name="Freeform 178">
                <a:extLst>
                  <a:ext uri="{FF2B5EF4-FFF2-40B4-BE49-F238E27FC236}">
                    <a16:creationId xmlns:a16="http://schemas.microsoft.com/office/drawing/2014/main" id="{A3F89356-DB15-4ED7-981A-6CCC2855E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9" y="1379"/>
                <a:ext cx="64" cy="26"/>
              </a:xfrm>
              <a:custGeom>
                <a:avLst/>
                <a:gdLst>
                  <a:gd name="T0" fmla="*/ 1 w 58"/>
                  <a:gd name="T1" fmla="*/ 0 h 23"/>
                  <a:gd name="T2" fmla="*/ 9 w 58"/>
                  <a:gd name="T3" fmla="*/ 6 h 23"/>
                  <a:gd name="T4" fmla="*/ 30 w 58"/>
                  <a:gd name="T5" fmla="*/ 6 h 23"/>
                  <a:gd name="T6" fmla="*/ 54 w 58"/>
                  <a:gd name="T7" fmla="*/ 6 h 23"/>
                  <a:gd name="T8" fmla="*/ 57 w 58"/>
                  <a:gd name="T9" fmla="*/ 19 h 23"/>
                  <a:gd name="T10" fmla="*/ 26 w 58"/>
                  <a:gd name="T11" fmla="*/ 22 h 23"/>
                  <a:gd name="T12" fmla="*/ 9 w 58"/>
                  <a:gd name="T13" fmla="*/ 17 h 23"/>
                  <a:gd name="T14" fmla="*/ 0 w 58"/>
                  <a:gd name="T15" fmla="*/ 7 h 23"/>
                  <a:gd name="T16" fmla="*/ 1 w 58"/>
                  <a:gd name="T1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23">
                    <a:moveTo>
                      <a:pt x="1" y="0"/>
                    </a:moveTo>
                    <a:lnTo>
                      <a:pt x="9" y="6"/>
                    </a:lnTo>
                    <a:lnTo>
                      <a:pt x="30" y="6"/>
                    </a:lnTo>
                    <a:lnTo>
                      <a:pt x="54" y="6"/>
                    </a:lnTo>
                    <a:lnTo>
                      <a:pt x="57" y="19"/>
                    </a:lnTo>
                    <a:lnTo>
                      <a:pt x="26" y="22"/>
                    </a:lnTo>
                    <a:lnTo>
                      <a:pt x="9" y="17"/>
                    </a:lnTo>
                    <a:lnTo>
                      <a:pt x="0" y="7"/>
                    </a:lnTo>
                    <a:lnTo>
                      <a:pt x="1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2" name="Freeform 179">
                <a:extLst>
                  <a:ext uri="{FF2B5EF4-FFF2-40B4-BE49-F238E27FC236}">
                    <a16:creationId xmlns:a16="http://schemas.microsoft.com/office/drawing/2014/main" id="{E304207D-DC82-4CE6-897A-13BC65087E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1" y="1493"/>
                <a:ext cx="45" cy="30"/>
              </a:xfrm>
              <a:custGeom>
                <a:avLst/>
                <a:gdLst>
                  <a:gd name="T0" fmla="*/ 15 w 41"/>
                  <a:gd name="T1" fmla="*/ 2 h 27"/>
                  <a:gd name="T2" fmla="*/ 3 w 41"/>
                  <a:gd name="T3" fmla="*/ 13 h 27"/>
                  <a:gd name="T4" fmla="*/ 0 w 41"/>
                  <a:gd name="T5" fmla="*/ 26 h 27"/>
                  <a:gd name="T6" fmla="*/ 20 w 41"/>
                  <a:gd name="T7" fmla="*/ 24 h 27"/>
                  <a:gd name="T8" fmla="*/ 36 w 41"/>
                  <a:gd name="T9" fmla="*/ 23 h 27"/>
                  <a:gd name="T10" fmla="*/ 40 w 41"/>
                  <a:gd name="T11" fmla="*/ 8 h 27"/>
                  <a:gd name="T12" fmla="*/ 26 w 41"/>
                  <a:gd name="T13" fmla="*/ 0 h 27"/>
                  <a:gd name="T14" fmla="*/ 15 w 41"/>
                  <a:gd name="T15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27">
                    <a:moveTo>
                      <a:pt x="15" y="2"/>
                    </a:moveTo>
                    <a:lnTo>
                      <a:pt x="3" y="13"/>
                    </a:lnTo>
                    <a:lnTo>
                      <a:pt x="0" y="26"/>
                    </a:lnTo>
                    <a:lnTo>
                      <a:pt x="20" y="24"/>
                    </a:lnTo>
                    <a:lnTo>
                      <a:pt x="36" y="23"/>
                    </a:lnTo>
                    <a:lnTo>
                      <a:pt x="40" y="8"/>
                    </a:lnTo>
                    <a:lnTo>
                      <a:pt x="26" y="0"/>
                    </a:lnTo>
                    <a:lnTo>
                      <a:pt x="15" y="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3" name="Freeform 180">
                <a:extLst>
                  <a:ext uri="{FF2B5EF4-FFF2-40B4-BE49-F238E27FC236}">
                    <a16:creationId xmlns:a16="http://schemas.microsoft.com/office/drawing/2014/main" id="{60BDFB85-9733-4A50-9157-E04B6477F6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0" y="2542"/>
                <a:ext cx="266" cy="299"/>
              </a:xfrm>
              <a:custGeom>
                <a:avLst/>
                <a:gdLst>
                  <a:gd name="T0" fmla="*/ 0 w 237"/>
                  <a:gd name="T1" fmla="*/ 191 h 266"/>
                  <a:gd name="T2" fmla="*/ 14 w 237"/>
                  <a:gd name="T3" fmla="*/ 173 h 266"/>
                  <a:gd name="T4" fmla="*/ 26 w 237"/>
                  <a:gd name="T5" fmla="*/ 179 h 266"/>
                  <a:gd name="T6" fmla="*/ 78 w 237"/>
                  <a:gd name="T7" fmla="*/ 182 h 266"/>
                  <a:gd name="T8" fmla="*/ 96 w 237"/>
                  <a:gd name="T9" fmla="*/ 180 h 266"/>
                  <a:gd name="T10" fmla="*/ 95 w 237"/>
                  <a:gd name="T11" fmla="*/ 162 h 266"/>
                  <a:gd name="T12" fmla="*/ 83 w 237"/>
                  <a:gd name="T13" fmla="*/ 158 h 266"/>
                  <a:gd name="T14" fmla="*/ 85 w 237"/>
                  <a:gd name="T15" fmla="*/ 47 h 266"/>
                  <a:gd name="T16" fmla="*/ 78 w 237"/>
                  <a:gd name="T17" fmla="*/ 38 h 266"/>
                  <a:gd name="T18" fmla="*/ 78 w 237"/>
                  <a:gd name="T19" fmla="*/ 16 h 266"/>
                  <a:gd name="T20" fmla="*/ 87 w 237"/>
                  <a:gd name="T21" fmla="*/ 14 h 266"/>
                  <a:gd name="T22" fmla="*/ 88 w 237"/>
                  <a:gd name="T23" fmla="*/ 0 h 266"/>
                  <a:gd name="T24" fmla="*/ 103 w 237"/>
                  <a:gd name="T25" fmla="*/ 9 h 266"/>
                  <a:gd name="T26" fmla="*/ 204 w 237"/>
                  <a:gd name="T27" fmla="*/ 89 h 266"/>
                  <a:gd name="T28" fmla="*/ 217 w 237"/>
                  <a:gd name="T29" fmla="*/ 96 h 266"/>
                  <a:gd name="T30" fmla="*/ 221 w 237"/>
                  <a:gd name="T31" fmla="*/ 119 h 266"/>
                  <a:gd name="T32" fmla="*/ 233 w 237"/>
                  <a:gd name="T33" fmla="*/ 117 h 266"/>
                  <a:gd name="T34" fmla="*/ 236 w 237"/>
                  <a:gd name="T35" fmla="*/ 164 h 266"/>
                  <a:gd name="T36" fmla="*/ 226 w 237"/>
                  <a:gd name="T37" fmla="*/ 166 h 266"/>
                  <a:gd name="T38" fmla="*/ 226 w 237"/>
                  <a:gd name="T39" fmla="*/ 174 h 266"/>
                  <a:gd name="T40" fmla="*/ 188 w 237"/>
                  <a:gd name="T41" fmla="*/ 179 h 266"/>
                  <a:gd name="T42" fmla="*/ 177 w 237"/>
                  <a:gd name="T43" fmla="*/ 187 h 266"/>
                  <a:gd name="T44" fmla="*/ 153 w 237"/>
                  <a:gd name="T45" fmla="*/ 186 h 266"/>
                  <a:gd name="T46" fmla="*/ 145 w 237"/>
                  <a:gd name="T47" fmla="*/ 196 h 266"/>
                  <a:gd name="T48" fmla="*/ 137 w 237"/>
                  <a:gd name="T49" fmla="*/ 203 h 266"/>
                  <a:gd name="T50" fmla="*/ 118 w 237"/>
                  <a:gd name="T51" fmla="*/ 209 h 266"/>
                  <a:gd name="T52" fmla="*/ 115 w 237"/>
                  <a:gd name="T53" fmla="*/ 217 h 266"/>
                  <a:gd name="T54" fmla="*/ 110 w 237"/>
                  <a:gd name="T55" fmla="*/ 228 h 266"/>
                  <a:gd name="T56" fmla="*/ 100 w 237"/>
                  <a:gd name="T57" fmla="*/ 242 h 266"/>
                  <a:gd name="T58" fmla="*/ 95 w 237"/>
                  <a:gd name="T59" fmla="*/ 262 h 266"/>
                  <a:gd name="T60" fmla="*/ 78 w 237"/>
                  <a:gd name="T61" fmla="*/ 264 h 266"/>
                  <a:gd name="T62" fmla="*/ 65 w 237"/>
                  <a:gd name="T63" fmla="*/ 265 h 266"/>
                  <a:gd name="T64" fmla="*/ 60 w 237"/>
                  <a:gd name="T65" fmla="*/ 246 h 266"/>
                  <a:gd name="T66" fmla="*/ 49 w 237"/>
                  <a:gd name="T67" fmla="*/ 235 h 266"/>
                  <a:gd name="T68" fmla="*/ 33 w 237"/>
                  <a:gd name="T69" fmla="*/ 231 h 266"/>
                  <a:gd name="T70" fmla="*/ 19 w 237"/>
                  <a:gd name="T71" fmla="*/ 227 h 266"/>
                  <a:gd name="T72" fmla="*/ 11 w 237"/>
                  <a:gd name="T73" fmla="*/ 210 h 266"/>
                  <a:gd name="T74" fmla="*/ 3 w 237"/>
                  <a:gd name="T75" fmla="*/ 204 h 266"/>
                  <a:gd name="T76" fmla="*/ 0 w 237"/>
                  <a:gd name="T77" fmla="*/ 191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37" h="266">
                    <a:moveTo>
                      <a:pt x="0" y="191"/>
                    </a:moveTo>
                    <a:lnTo>
                      <a:pt x="14" y="173"/>
                    </a:lnTo>
                    <a:lnTo>
                      <a:pt x="26" y="179"/>
                    </a:lnTo>
                    <a:lnTo>
                      <a:pt x="78" y="182"/>
                    </a:lnTo>
                    <a:lnTo>
                      <a:pt x="96" y="180"/>
                    </a:lnTo>
                    <a:lnTo>
                      <a:pt x="95" y="162"/>
                    </a:lnTo>
                    <a:lnTo>
                      <a:pt x="83" y="158"/>
                    </a:lnTo>
                    <a:lnTo>
                      <a:pt x="85" y="47"/>
                    </a:lnTo>
                    <a:lnTo>
                      <a:pt x="78" y="38"/>
                    </a:lnTo>
                    <a:lnTo>
                      <a:pt x="78" y="16"/>
                    </a:lnTo>
                    <a:lnTo>
                      <a:pt x="87" y="14"/>
                    </a:lnTo>
                    <a:lnTo>
                      <a:pt x="88" y="0"/>
                    </a:lnTo>
                    <a:lnTo>
                      <a:pt x="103" y="9"/>
                    </a:lnTo>
                    <a:lnTo>
                      <a:pt x="204" y="89"/>
                    </a:lnTo>
                    <a:lnTo>
                      <a:pt x="217" y="96"/>
                    </a:lnTo>
                    <a:lnTo>
                      <a:pt x="221" y="119"/>
                    </a:lnTo>
                    <a:lnTo>
                      <a:pt x="233" y="117"/>
                    </a:lnTo>
                    <a:lnTo>
                      <a:pt x="236" y="164"/>
                    </a:lnTo>
                    <a:lnTo>
                      <a:pt x="226" y="166"/>
                    </a:lnTo>
                    <a:lnTo>
                      <a:pt x="226" y="174"/>
                    </a:lnTo>
                    <a:lnTo>
                      <a:pt x="188" y="179"/>
                    </a:lnTo>
                    <a:lnTo>
                      <a:pt x="177" y="187"/>
                    </a:lnTo>
                    <a:lnTo>
                      <a:pt x="153" y="186"/>
                    </a:lnTo>
                    <a:lnTo>
                      <a:pt x="145" y="196"/>
                    </a:lnTo>
                    <a:lnTo>
                      <a:pt x="137" y="203"/>
                    </a:lnTo>
                    <a:lnTo>
                      <a:pt x="118" y="209"/>
                    </a:lnTo>
                    <a:lnTo>
                      <a:pt x="115" y="217"/>
                    </a:lnTo>
                    <a:lnTo>
                      <a:pt x="110" y="228"/>
                    </a:lnTo>
                    <a:lnTo>
                      <a:pt x="100" y="242"/>
                    </a:lnTo>
                    <a:lnTo>
                      <a:pt x="95" y="262"/>
                    </a:lnTo>
                    <a:lnTo>
                      <a:pt x="78" y="264"/>
                    </a:lnTo>
                    <a:lnTo>
                      <a:pt x="65" y="265"/>
                    </a:lnTo>
                    <a:lnTo>
                      <a:pt x="60" y="246"/>
                    </a:lnTo>
                    <a:lnTo>
                      <a:pt x="49" y="235"/>
                    </a:lnTo>
                    <a:lnTo>
                      <a:pt x="33" y="231"/>
                    </a:lnTo>
                    <a:lnTo>
                      <a:pt x="19" y="227"/>
                    </a:lnTo>
                    <a:lnTo>
                      <a:pt x="11" y="210"/>
                    </a:lnTo>
                    <a:lnTo>
                      <a:pt x="3" y="204"/>
                    </a:lnTo>
                    <a:lnTo>
                      <a:pt x="0" y="191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4" name="Freeform 181">
                <a:extLst>
                  <a:ext uri="{FF2B5EF4-FFF2-40B4-BE49-F238E27FC236}">
                    <a16:creationId xmlns:a16="http://schemas.microsoft.com/office/drawing/2014/main" id="{4886B99A-0B5E-48A2-8B0C-BD9B58B954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5" y="2771"/>
                <a:ext cx="177" cy="176"/>
              </a:xfrm>
              <a:custGeom>
                <a:avLst/>
                <a:gdLst>
                  <a:gd name="T0" fmla="*/ 126 w 158"/>
                  <a:gd name="T1" fmla="*/ 101 h 156"/>
                  <a:gd name="T2" fmla="*/ 135 w 158"/>
                  <a:gd name="T3" fmla="*/ 84 h 156"/>
                  <a:gd name="T4" fmla="*/ 142 w 158"/>
                  <a:gd name="T5" fmla="*/ 57 h 156"/>
                  <a:gd name="T6" fmla="*/ 146 w 158"/>
                  <a:gd name="T7" fmla="*/ 49 h 156"/>
                  <a:gd name="T8" fmla="*/ 154 w 158"/>
                  <a:gd name="T9" fmla="*/ 44 h 156"/>
                  <a:gd name="T10" fmla="*/ 157 w 158"/>
                  <a:gd name="T11" fmla="*/ 24 h 156"/>
                  <a:gd name="T12" fmla="*/ 154 w 158"/>
                  <a:gd name="T13" fmla="*/ 0 h 156"/>
                  <a:gd name="T14" fmla="*/ 143 w 158"/>
                  <a:gd name="T15" fmla="*/ 6 h 156"/>
                  <a:gd name="T16" fmla="*/ 137 w 158"/>
                  <a:gd name="T17" fmla="*/ 13 h 156"/>
                  <a:gd name="T18" fmla="*/ 129 w 158"/>
                  <a:gd name="T19" fmla="*/ 6 h 156"/>
                  <a:gd name="T20" fmla="*/ 111 w 158"/>
                  <a:gd name="T21" fmla="*/ 6 h 156"/>
                  <a:gd name="T22" fmla="*/ 109 w 158"/>
                  <a:gd name="T23" fmla="*/ 13 h 156"/>
                  <a:gd name="T24" fmla="*/ 96 w 158"/>
                  <a:gd name="T25" fmla="*/ 13 h 156"/>
                  <a:gd name="T26" fmla="*/ 89 w 158"/>
                  <a:gd name="T27" fmla="*/ 4 h 156"/>
                  <a:gd name="T28" fmla="*/ 78 w 158"/>
                  <a:gd name="T29" fmla="*/ 6 h 156"/>
                  <a:gd name="T30" fmla="*/ 60 w 158"/>
                  <a:gd name="T31" fmla="*/ 7 h 156"/>
                  <a:gd name="T32" fmla="*/ 59 w 158"/>
                  <a:gd name="T33" fmla="*/ 13 h 156"/>
                  <a:gd name="T34" fmla="*/ 52 w 158"/>
                  <a:gd name="T35" fmla="*/ 3 h 156"/>
                  <a:gd name="T36" fmla="*/ 41 w 158"/>
                  <a:gd name="T37" fmla="*/ 2 h 156"/>
                  <a:gd name="T38" fmla="*/ 28 w 158"/>
                  <a:gd name="T39" fmla="*/ 6 h 156"/>
                  <a:gd name="T40" fmla="*/ 23 w 158"/>
                  <a:gd name="T41" fmla="*/ 16 h 156"/>
                  <a:gd name="T42" fmla="*/ 18 w 158"/>
                  <a:gd name="T43" fmla="*/ 23 h 156"/>
                  <a:gd name="T44" fmla="*/ 14 w 158"/>
                  <a:gd name="T45" fmla="*/ 23 h 156"/>
                  <a:gd name="T46" fmla="*/ 16 w 158"/>
                  <a:gd name="T47" fmla="*/ 42 h 156"/>
                  <a:gd name="T48" fmla="*/ 8 w 158"/>
                  <a:gd name="T49" fmla="*/ 74 h 156"/>
                  <a:gd name="T50" fmla="*/ 0 w 158"/>
                  <a:gd name="T51" fmla="*/ 85 h 156"/>
                  <a:gd name="T52" fmla="*/ 3 w 158"/>
                  <a:gd name="T53" fmla="*/ 117 h 156"/>
                  <a:gd name="T54" fmla="*/ 15 w 158"/>
                  <a:gd name="T55" fmla="*/ 119 h 156"/>
                  <a:gd name="T56" fmla="*/ 28 w 158"/>
                  <a:gd name="T57" fmla="*/ 117 h 156"/>
                  <a:gd name="T58" fmla="*/ 34 w 158"/>
                  <a:gd name="T59" fmla="*/ 124 h 156"/>
                  <a:gd name="T60" fmla="*/ 40 w 158"/>
                  <a:gd name="T61" fmla="*/ 132 h 156"/>
                  <a:gd name="T62" fmla="*/ 39 w 158"/>
                  <a:gd name="T63" fmla="*/ 147 h 156"/>
                  <a:gd name="T64" fmla="*/ 50 w 158"/>
                  <a:gd name="T65" fmla="*/ 154 h 156"/>
                  <a:gd name="T66" fmla="*/ 63 w 158"/>
                  <a:gd name="T67" fmla="*/ 155 h 156"/>
                  <a:gd name="T68" fmla="*/ 89 w 158"/>
                  <a:gd name="T69" fmla="*/ 133 h 156"/>
                  <a:gd name="T70" fmla="*/ 98 w 158"/>
                  <a:gd name="T71" fmla="*/ 122 h 156"/>
                  <a:gd name="T72" fmla="*/ 110 w 158"/>
                  <a:gd name="T73" fmla="*/ 111 h 156"/>
                  <a:gd name="T74" fmla="*/ 126 w 158"/>
                  <a:gd name="T75" fmla="*/ 101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58" h="156">
                    <a:moveTo>
                      <a:pt x="126" y="101"/>
                    </a:moveTo>
                    <a:lnTo>
                      <a:pt x="135" y="84"/>
                    </a:lnTo>
                    <a:lnTo>
                      <a:pt x="142" y="57"/>
                    </a:lnTo>
                    <a:lnTo>
                      <a:pt x="146" y="49"/>
                    </a:lnTo>
                    <a:lnTo>
                      <a:pt x="154" y="44"/>
                    </a:lnTo>
                    <a:lnTo>
                      <a:pt x="157" y="24"/>
                    </a:lnTo>
                    <a:lnTo>
                      <a:pt x="154" y="0"/>
                    </a:lnTo>
                    <a:lnTo>
                      <a:pt x="143" y="6"/>
                    </a:lnTo>
                    <a:lnTo>
                      <a:pt x="137" y="13"/>
                    </a:lnTo>
                    <a:lnTo>
                      <a:pt x="129" y="6"/>
                    </a:lnTo>
                    <a:lnTo>
                      <a:pt x="111" y="6"/>
                    </a:lnTo>
                    <a:lnTo>
                      <a:pt x="109" y="13"/>
                    </a:lnTo>
                    <a:lnTo>
                      <a:pt x="96" y="13"/>
                    </a:lnTo>
                    <a:lnTo>
                      <a:pt x="89" y="4"/>
                    </a:lnTo>
                    <a:lnTo>
                      <a:pt x="78" y="6"/>
                    </a:lnTo>
                    <a:lnTo>
                      <a:pt x="60" y="7"/>
                    </a:lnTo>
                    <a:lnTo>
                      <a:pt x="59" y="13"/>
                    </a:lnTo>
                    <a:lnTo>
                      <a:pt x="52" y="3"/>
                    </a:lnTo>
                    <a:lnTo>
                      <a:pt x="41" y="2"/>
                    </a:lnTo>
                    <a:lnTo>
                      <a:pt x="28" y="6"/>
                    </a:lnTo>
                    <a:lnTo>
                      <a:pt x="23" y="16"/>
                    </a:lnTo>
                    <a:lnTo>
                      <a:pt x="18" y="23"/>
                    </a:lnTo>
                    <a:lnTo>
                      <a:pt x="14" y="23"/>
                    </a:lnTo>
                    <a:lnTo>
                      <a:pt x="16" y="42"/>
                    </a:lnTo>
                    <a:lnTo>
                      <a:pt x="8" y="74"/>
                    </a:lnTo>
                    <a:lnTo>
                      <a:pt x="0" y="85"/>
                    </a:lnTo>
                    <a:lnTo>
                      <a:pt x="3" y="117"/>
                    </a:lnTo>
                    <a:lnTo>
                      <a:pt x="15" y="119"/>
                    </a:lnTo>
                    <a:lnTo>
                      <a:pt x="28" y="117"/>
                    </a:lnTo>
                    <a:lnTo>
                      <a:pt x="34" y="124"/>
                    </a:lnTo>
                    <a:lnTo>
                      <a:pt x="40" y="132"/>
                    </a:lnTo>
                    <a:lnTo>
                      <a:pt x="39" y="147"/>
                    </a:lnTo>
                    <a:lnTo>
                      <a:pt x="50" y="154"/>
                    </a:lnTo>
                    <a:lnTo>
                      <a:pt x="63" y="155"/>
                    </a:lnTo>
                    <a:lnTo>
                      <a:pt x="89" y="133"/>
                    </a:lnTo>
                    <a:lnTo>
                      <a:pt x="98" y="122"/>
                    </a:lnTo>
                    <a:lnTo>
                      <a:pt x="110" y="111"/>
                    </a:lnTo>
                    <a:lnTo>
                      <a:pt x="126" y="101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5" name="Freeform 182">
                <a:extLst>
                  <a:ext uri="{FF2B5EF4-FFF2-40B4-BE49-F238E27FC236}">
                    <a16:creationId xmlns:a16="http://schemas.microsoft.com/office/drawing/2014/main" id="{0C92F280-4256-4872-8E9B-25E00F09D5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" y="2821"/>
                <a:ext cx="198" cy="160"/>
              </a:xfrm>
              <a:custGeom>
                <a:avLst/>
                <a:gdLst>
                  <a:gd name="T0" fmla="*/ 174 w 177"/>
                  <a:gd name="T1" fmla="*/ 101 h 142"/>
                  <a:gd name="T2" fmla="*/ 166 w 177"/>
                  <a:gd name="T3" fmla="*/ 100 h 142"/>
                  <a:gd name="T4" fmla="*/ 150 w 177"/>
                  <a:gd name="T5" fmla="*/ 103 h 142"/>
                  <a:gd name="T6" fmla="*/ 136 w 177"/>
                  <a:gd name="T7" fmla="*/ 101 h 142"/>
                  <a:gd name="T8" fmla="*/ 135 w 177"/>
                  <a:gd name="T9" fmla="*/ 108 h 142"/>
                  <a:gd name="T10" fmla="*/ 106 w 177"/>
                  <a:gd name="T11" fmla="*/ 110 h 142"/>
                  <a:gd name="T12" fmla="*/ 103 w 177"/>
                  <a:gd name="T13" fmla="*/ 116 h 142"/>
                  <a:gd name="T14" fmla="*/ 79 w 177"/>
                  <a:gd name="T15" fmla="*/ 120 h 142"/>
                  <a:gd name="T16" fmla="*/ 74 w 177"/>
                  <a:gd name="T17" fmla="*/ 109 h 142"/>
                  <a:gd name="T18" fmla="*/ 64 w 177"/>
                  <a:gd name="T19" fmla="*/ 105 h 142"/>
                  <a:gd name="T20" fmla="*/ 58 w 177"/>
                  <a:gd name="T21" fmla="*/ 114 h 142"/>
                  <a:gd name="T22" fmla="*/ 51 w 177"/>
                  <a:gd name="T23" fmla="*/ 117 h 142"/>
                  <a:gd name="T24" fmla="*/ 46 w 177"/>
                  <a:gd name="T25" fmla="*/ 121 h 142"/>
                  <a:gd name="T26" fmla="*/ 35 w 177"/>
                  <a:gd name="T27" fmla="*/ 123 h 142"/>
                  <a:gd name="T28" fmla="*/ 28 w 177"/>
                  <a:gd name="T29" fmla="*/ 132 h 142"/>
                  <a:gd name="T30" fmla="*/ 22 w 177"/>
                  <a:gd name="T31" fmla="*/ 141 h 142"/>
                  <a:gd name="T32" fmla="*/ 17 w 177"/>
                  <a:gd name="T33" fmla="*/ 132 h 142"/>
                  <a:gd name="T34" fmla="*/ 10 w 177"/>
                  <a:gd name="T35" fmla="*/ 111 h 142"/>
                  <a:gd name="T36" fmla="*/ 0 w 177"/>
                  <a:gd name="T37" fmla="*/ 94 h 142"/>
                  <a:gd name="T38" fmla="*/ 6 w 177"/>
                  <a:gd name="T39" fmla="*/ 75 h 142"/>
                  <a:gd name="T40" fmla="*/ 13 w 177"/>
                  <a:gd name="T41" fmla="*/ 66 h 142"/>
                  <a:gd name="T42" fmla="*/ 21 w 177"/>
                  <a:gd name="T43" fmla="*/ 61 h 142"/>
                  <a:gd name="T44" fmla="*/ 35 w 177"/>
                  <a:gd name="T45" fmla="*/ 62 h 142"/>
                  <a:gd name="T46" fmla="*/ 39 w 177"/>
                  <a:gd name="T47" fmla="*/ 53 h 142"/>
                  <a:gd name="T48" fmla="*/ 55 w 177"/>
                  <a:gd name="T49" fmla="*/ 52 h 142"/>
                  <a:gd name="T50" fmla="*/ 62 w 177"/>
                  <a:gd name="T51" fmla="*/ 42 h 142"/>
                  <a:gd name="T52" fmla="*/ 75 w 177"/>
                  <a:gd name="T53" fmla="*/ 38 h 142"/>
                  <a:gd name="T54" fmla="*/ 80 w 177"/>
                  <a:gd name="T55" fmla="*/ 27 h 142"/>
                  <a:gd name="T56" fmla="*/ 90 w 177"/>
                  <a:gd name="T57" fmla="*/ 24 h 142"/>
                  <a:gd name="T58" fmla="*/ 96 w 177"/>
                  <a:gd name="T59" fmla="*/ 12 h 142"/>
                  <a:gd name="T60" fmla="*/ 106 w 177"/>
                  <a:gd name="T61" fmla="*/ 3 h 142"/>
                  <a:gd name="T62" fmla="*/ 113 w 177"/>
                  <a:gd name="T63" fmla="*/ 0 h 142"/>
                  <a:gd name="T64" fmla="*/ 119 w 177"/>
                  <a:gd name="T65" fmla="*/ 11 h 142"/>
                  <a:gd name="T66" fmla="*/ 126 w 177"/>
                  <a:gd name="T67" fmla="*/ 26 h 142"/>
                  <a:gd name="T68" fmla="*/ 124 w 177"/>
                  <a:gd name="T69" fmla="*/ 38 h 142"/>
                  <a:gd name="T70" fmla="*/ 131 w 177"/>
                  <a:gd name="T71" fmla="*/ 41 h 142"/>
                  <a:gd name="T72" fmla="*/ 132 w 177"/>
                  <a:gd name="T73" fmla="*/ 50 h 142"/>
                  <a:gd name="T74" fmla="*/ 143 w 177"/>
                  <a:gd name="T75" fmla="*/ 47 h 142"/>
                  <a:gd name="T76" fmla="*/ 146 w 177"/>
                  <a:gd name="T77" fmla="*/ 61 h 142"/>
                  <a:gd name="T78" fmla="*/ 159 w 177"/>
                  <a:gd name="T79" fmla="*/ 64 h 142"/>
                  <a:gd name="T80" fmla="*/ 162 w 177"/>
                  <a:gd name="T81" fmla="*/ 80 h 142"/>
                  <a:gd name="T82" fmla="*/ 169 w 177"/>
                  <a:gd name="T83" fmla="*/ 83 h 142"/>
                  <a:gd name="T84" fmla="*/ 173 w 177"/>
                  <a:gd name="T85" fmla="*/ 89 h 142"/>
                  <a:gd name="T86" fmla="*/ 176 w 177"/>
                  <a:gd name="T87" fmla="*/ 94 h 142"/>
                  <a:gd name="T88" fmla="*/ 174 w 177"/>
                  <a:gd name="T89" fmla="*/ 101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77" h="142">
                    <a:moveTo>
                      <a:pt x="174" y="101"/>
                    </a:moveTo>
                    <a:lnTo>
                      <a:pt x="166" y="100"/>
                    </a:lnTo>
                    <a:lnTo>
                      <a:pt x="150" y="103"/>
                    </a:lnTo>
                    <a:lnTo>
                      <a:pt x="136" y="101"/>
                    </a:lnTo>
                    <a:lnTo>
                      <a:pt x="135" y="108"/>
                    </a:lnTo>
                    <a:lnTo>
                      <a:pt x="106" y="110"/>
                    </a:lnTo>
                    <a:lnTo>
                      <a:pt x="103" y="116"/>
                    </a:lnTo>
                    <a:lnTo>
                      <a:pt x="79" y="120"/>
                    </a:lnTo>
                    <a:lnTo>
                      <a:pt x="74" y="109"/>
                    </a:lnTo>
                    <a:lnTo>
                      <a:pt x="64" y="105"/>
                    </a:lnTo>
                    <a:lnTo>
                      <a:pt x="58" y="114"/>
                    </a:lnTo>
                    <a:lnTo>
                      <a:pt x="51" y="117"/>
                    </a:lnTo>
                    <a:lnTo>
                      <a:pt x="46" y="121"/>
                    </a:lnTo>
                    <a:lnTo>
                      <a:pt x="35" y="123"/>
                    </a:lnTo>
                    <a:lnTo>
                      <a:pt x="28" y="132"/>
                    </a:lnTo>
                    <a:lnTo>
                      <a:pt x="22" y="141"/>
                    </a:lnTo>
                    <a:lnTo>
                      <a:pt x="17" y="132"/>
                    </a:lnTo>
                    <a:lnTo>
                      <a:pt x="10" y="111"/>
                    </a:lnTo>
                    <a:lnTo>
                      <a:pt x="0" y="94"/>
                    </a:lnTo>
                    <a:lnTo>
                      <a:pt x="6" y="75"/>
                    </a:lnTo>
                    <a:lnTo>
                      <a:pt x="13" y="66"/>
                    </a:lnTo>
                    <a:lnTo>
                      <a:pt x="21" y="61"/>
                    </a:lnTo>
                    <a:lnTo>
                      <a:pt x="35" y="62"/>
                    </a:lnTo>
                    <a:lnTo>
                      <a:pt x="39" y="53"/>
                    </a:lnTo>
                    <a:lnTo>
                      <a:pt x="55" y="52"/>
                    </a:lnTo>
                    <a:lnTo>
                      <a:pt x="62" y="42"/>
                    </a:lnTo>
                    <a:lnTo>
                      <a:pt x="75" y="38"/>
                    </a:lnTo>
                    <a:lnTo>
                      <a:pt x="80" y="27"/>
                    </a:lnTo>
                    <a:lnTo>
                      <a:pt x="90" y="24"/>
                    </a:lnTo>
                    <a:lnTo>
                      <a:pt x="96" y="12"/>
                    </a:lnTo>
                    <a:lnTo>
                      <a:pt x="106" y="3"/>
                    </a:lnTo>
                    <a:lnTo>
                      <a:pt x="113" y="0"/>
                    </a:lnTo>
                    <a:lnTo>
                      <a:pt x="119" y="11"/>
                    </a:lnTo>
                    <a:lnTo>
                      <a:pt x="126" y="26"/>
                    </a:lnTo>
                    <a:lnTo>
                      <a:pt x="124" y="38"/>
                    </a:lnTo>
                    <a:lnTo>
                      <a:pt x="131" y="41"/>
                    </a:lnTo>
                    <a:lnTo>
                      <a:pt x="132" y="50"/>
                    </a:lnTo>
                    <a:lnTo>
                      <a:pt x="143" y="47"/>
                    </a:lnTo>
                    <a:lnTo>
                      <a:pt x="146" y="61"/>
                    </a:lnTo>
                    <a:lnTo>
                      <a:pt x="159" y="64"/>
                    </a:lnTo>
                    <a:lnTo>
                      <a:pt x="162" y="80"/>
                    </a:lnTo>
                    <a:lnTo>
                      <a:pt x="169" y="83"/>
                    </a:lnTo>
                    <a:lnTo>
                      <a:pt x="173" y="89"/>
                    </a:lnTo>
                    <a:lnTo>
                      <a:pt x="176" y="94"/>
                    </a:lnTo>
                    <a:lnTo>
                      <a:pt x="174" y="101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6" name="Freeform 183">
                <a:extLst>
                  <a:ext uri="{FF2B5EF4-FFF2-40B4-BE49-F238E27FC236}">
                    <a16:creationId xmlns:a16="http://schemas.microsoft.com/office/drawing/2014/main" id="{1F5D1BEC-C9F0-4B1F-8B1F-AEAEF9310C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0" y="2429"/>
                <a:ext cx="172" cy="201"/>
              </a:xfrm>
              <a:custGeom>
                <a:avLst/>
                <a:gdLst>
                  <a:gd name="T0" fmla="*/ 0 w 172"/>
                  <a:gd name="T1" fmla="*/ 2 h 201"/>
                  <a:gd name="T2" fmla="*/ 0 w 172"/>
                  <a:gd name="T3" fmla="*/ 201 h 201"/>
                  <a:gd name="T4" fmla="*/ 10 w 172"/>
                  <a:gd name="T5" fmla="*/ 195 h 201"/>
                  <a:gd name="T6" fmla="*/ 22 w 172"/>
                  <a:gd name="T7" fmla="*/ 186 h 201"/>
                  <a:gd name="T8" fmla="*/ 129 w 172"/>
                  <a:gd name="T9" fmla="*/ 186 h 201"/>
                  <a:gd name="T10" fmla="*/ 138 w 172"/>
                  <a:gd name="T11" fmla="*/ 195 h 201"/>
                  <a:gd name="T12" fmla="*/ 166 w 172"/>
                  <a:gd name="T13" fmla="*/ 172 h 201"/>
                  <a:gd name="T14" fmla="*/ 166 w 172"/>
                  <a:gd name="T15" fmla="*/ 149 h 201"/>
                  <a:gd name="T16" fmla="*/ 172 w 172"/>
                  <a:gd name="T17" fmla="*/ 146 h 201"/>
                  <a:gd name="T18" fmla="*/ 134 w 172"/>
                  <a:gd name="T19" fmla="*/ 85 h 201"/>
                  <a:gd name="T20" fmla="*/ 112 w 172"/>
                  <a:gd name="T21" fmla="*/ 48 h 201"/>
                  <a:gd name="T22" fmla="*/ 112 w 172"/>
                  <a:gd name="T23" fmla="*/ 32 h 201"/>
                  <a:gd name="T24" fmla="*/ 125 w 172"/>
                  <a:gd name="T25" fmla="*/ 45 h 201"/>
                  <a:gd name="T26" fmla="*/ 143 w 172"/>
                  <a:gd name="T27" fmla="*/ 65 h 201"/>
                  <a:gd name="T28" fmla="*/ 151 w 172"/>
                  <a:gd name="T29" fmla="*/ 48 h 201"/>
                  <a:gd name="T30" fmla="*/ 151 w 172"/>
                  <a:gd name="T31" fmla="*/ 28 h 201"/>
                  <a:gd name="T32" fmla="*/ 136 w 172"/>
                  <a:gd name="T33" fmla="*/ 5 h 201"/>
                  <a:gd name="T34" fmla="*/ 112 w 172"/>
                  <a:gd name="T35" fmla="*/ 2 h 201"/>
                  <a:gd name="T36" fmla="*/ 91 w 172"/>
                  <a:gd name="T37" fmla="*/ 3 h 201"/>
                  <a:gd name="T38" fmla="*/ 67 w 172"/>
                  <a:gd name="T39" fmla="*/ 19 h 201"/>
                  <a:gd name="T40" fmla="*/ 55 w 172"/>
                  <a:gd name="T41" fmla="*/ 12 h 201"/>
                  <a:gd name="T42" fmla="*/ 44 w 172"/>
                  <a:gd name="T43" fmla="*/ 0 h 201"/>
                  <a:gd name="T44" fmla="*/ 0 w 172"/>
                  <a:gd name="T45" fmla="*/ 2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2" h="201">
                    <a:moveTo>
                      <a:pt x="0" y="2"/>
                    </a:moveTo>
                    <a:lnTo>
                      <a:pt x="0" y="201"/>
                    </a:lnTo>
                    <a:lnTo>
                      <a:pt x="10" y="195"/>
                    </a:lnTo>
                    <a:lnTo>
                      <a:pt x="22" y="186"/>
                    </a:lnTo>
                    <a:lnTo>
                      <a:pt x="129" y="186"/>
                    </a:lnTo>
                    <a:lnTo>
                      <a:pt x="138" y="195"/>
                    </a:lnTo>
                    <a:lnTo>
                      <a:pt x="166" y="172"/>
                    </a:lnTo>
                    <a:lnTo>
                      <a:pt x="166" y="149"/>
                    </a:lnTo>
                    <a:lnTo>
                      <a:pt x="172" y="146"/>
                    </a:lnTo>
                    <a:lnTo>
                      <a:pt x="134" y="85"/>
                    </a:lnTo>
                    <a:lnTo>
                      <a:pt x="112" y="48"/>
                    </a:lnTo>
                    <a:lnTo>
                      <a:pt x="112" y="32"/>
                    </a:lnTo>
                    <a:lnTo>
                      <a:pt x="125" y="45"/>
                    </a:lnTo>
                    <a:lnTo>
                      <a:pt x="143" y="65"/>
                    </a:lnTo>
                    <a:lnTo>
                      <a:pt x="151" y="48"/>
                    </a:lnTo>
                    <a:lnTo>
                      <a:pt x="151" y="28"/>
                    </a:lnTo>
                    <a:lnTo>
                      <a:pt x="136" y="5"/>
                    </a:lnTo>
                    <a:lnTo>
                      <a:pt x="112" y="2"/>
                    </a:lnTo>
                    <a:lnTo>
                      <a:pt x="91" y="3"/>
                    </a:lnTo>
                    <a:lnTo>
                      <a:pt x="67" y="19"/>
                    </a:lnTo>
                    <a:lnTo>
                      <a:pt x="55" y="12"/>
                    </a:lnTo>
                    <a:lnTo>
                      <a:pt x="44" y="0"/>
                    </a:lnTo>
                    <a:lnTo>
                      <a:pt x="0" y="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7" name="Freeform 184">
                <a:extLst>
                  <a:ext uri="{FF2B5EF4-FFF2-40B4-BE49-F238E27FC236}">
                    <a16:creationId xmlns:a16="http://schemas.microsoft.com/office/drawing/2014/main" id="{B312C94A-E1BF-40DD-A575-377B8BFB8F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7" y="2342"/>
                <a:ext cx="200" cy="240"/>
              </a:xfrm>
              <a:custGeom>
                <a:avLst/>
                <a:gdLst>
                  <a:gd name="T0" fmla="*/ 136 w 177"/>
                  <a:gd name="T1" fmla="*/ 0 h 214"/>
                  <a:gd name="T2" fmla="*/ 123 w 177"/>
                  <a:gd name="T3" fmla="*/ 4 h 214"/>
                  <a:gd name="T4" fmla="*/ 119 w 177"/>
                  <a:gd name="T5" fmla="*/ 20 h 214"/>
                  <a:gd name="T6" fmla="*/ 113 w 177"/>
                  <a:gd name="T7" fmla="*/ 38 h 214"/>
                  <a:gd name="T8" fmla="*/ 107 w 177"/>
                  <a:gd name="T9" fmla="*/ 54 h 214"/>
                  <a:gd name="T10" fmla="*/ 97 w 177"/>
                  <a:gd name="T11" fmla="*/ 60 h 214"/>
                  <a:gd name="T12" fmla="*/ 94 w 177"/>
                  <a:gd name="T13" fmla="*/ 78 h 214"/>
                  <a:gd name="T14" fmla="*/ 81 w 177"/>
                  <a:gd name="T15" fmla="*/ 78 h 214"/>
                  <a:gd name="T16" fmla="*/ 65 w 177"/>
                  <a:gd name="T17" fmla="*/ 89 h 214"/>
                  <a:gd name="T18" fmla="*/ 53 w 177"/>
                  <a:gd name="T19" fmla="*/ 97 h 214"/>
                  <a:gd name="T20" fmla="*/ 47 w 177"/>
                  <a:gd name="T21" fmla="*/ 112 h 214"/>
                  <a:gd name="T22" fmla="*/ 6 w 177"/>
                  <a:gd name="T23" fmla="*/ 117 h 214"/>
                  <a:gd name="T24" fmla="*/ 0 w 177"/>
                  <a:gd name="T25" fmla="*/ 129 h 214"/>
                  <a:gd name="T26" fmla="*/ 4 w 177"/>
                  <a:gd name="T27" fmla="*/ 145 h 214"/>
                  <a:gd name="T28" fmla="*/ 15 w 177"/>
                  <a:gd name="T29" fmla="*/ 147 h 214"/>
                  <a:gd name="T30" fmla="*/ 20 w 177"/>
                  <a:gd name="T31" fmla="*/ 155 h 214"/>
                  <a:gd name="T32" fmla="*/ 12 w 177"/>
                  <a:gd name="T33" fmla="*/ 166 h 214"/>
                  <a:gd name="T34" fmla="*/ 0 w 177"/>
                  <a:gd name="T35" fmla="*/ 170 h 214"/>
                  <a:gd name="T36" fmla="*/ 12 w 177"/>
                  <a:gd name="T37" fmla="*/ 174 h 214"/>
                  <a:gd name="T38" fmla="*/ 18 w 177"/>
                  <a:gd name="T39" fmla="*/ 187 h 214"/>
                  <a:gd name="T40" fmla="*/ 42 w 177"/>
                  <a:gd name="T41" fmla="*/ 187 h 214"/>
                  <a:gd name="T42" fmla="*/ 59 w 177"/>
                  <a:gd name="T43" fmla="*/ 181 h 214"/>
                  <a:gd name="T44" fmla="*/ 61 w 177"/>
                  <a:gd name="T45" fmla="*/ 193 h 214"/>
                  <a:gd name="T46" fmla="*/ 78 w 177"/>
                  <a:gd name="T47" fmla="*/ 204 h 214"/>
                  <a:gd name="T48" fmla="*/ 91 w 177"/>
                  <a:gd name="T49" fmla="*/ 213 h 214"/>
                  <a:gd name="T50" fmla="*/ 99 w 177"/>
                  <a:gd name="T51" fmla="*/ 204 h 214"/>
                  <a:gd name="T52" fmla="*/ 127 w 177"/>
                  <a:gd name="T53" fmla="*/ 204 h 214"/>
                  <a:gd name="T54" fmla="*/ 129 w 177"/>
                  <a:gd name="T55" fmla="*/ 192 h 214"/>
                  <a:gd name="T56" fmla="*/ 113 w 177"/>
                  <a:gd name="T57" fmla="*/ 171 h 214"/>
                  <a:gd name="T58" fmla="*/ 102 w 177"/>
                  <a:gd name="T59" fmla="*/ 158 h 214"/>
                  <a:gd name="T60" fmla="*/ 106 w 177"/>
                  <a:gd name="T61" fmla="*/ 144 h 214"/>
                  <a:gd name="T62" fmla="*/ 115 w 177"/>
                  <a:gd name="T63" fmla="*/ 135 h 214"/>
                  <a:gd name="T64" fmla="*/ 140 w 177"/>
                  <a:gd name="T65" fmla="*/ 144 h 214"/>
                  <a:gd name="T66" fmla="*/ 144 w 177"/>
                  <a:gd name="T67" fmla="*/ 134 h 214"/>
                  <a:gd name="T68" fmla="*/ 146 w 177"/>
                  <a:gd name="T69" fmla="*/ 123 h 214"/>
                  <a:gd name="T70" fmla="*/ 161 w 177"/>
                  <a:gd name="T71" fmla="*/ 109 h 214"/>
                  <a:gd name="T72" fmla="*/ 167 w 177"/>
                  <a:gd name="T73" fmla="*/ 95 h 214"/>
                  <a:gd name="T74" fmla="*/ 176 w 177"/>
                  <a:gd name="T75" fmla="*/ 85 h 214"/>
                  <a:gd name="T76" fmla="*/ 174 w 177"/>
                  <a:gd name="T77" fmla="*/ 63 h 214"/>
                  <a:gd name="T78" fmla="*/ 161 w 177"/>
                  <a:gd name="T79" fmla="*/ 52 h 214"/>
                  <a:gd name="T80" fmla="*/ 162 w 177"/>
                  <a:gd name="T81" fmla="*/ 32 h 214"/>
                  <a:gd name="T82" fmla="*/ 155 w 177"/>
                  <a:gd name="T83" fmla="*/ 22 h 214"/>
                  <a:gd name="T84" fmla="*/ 157 w 177"/>
                  <a:gd name="T85" fmla="*/ 9 h 214"/>
                  <a:gd name="T86" fmla="*/ 146 w 177"/>
                  <a:gd name="T87" fmla="*/ 2 h 214"/>
                  <a:gd name="T88" fmla="*/ 136 w 177"/>
                  <a:gd name="T89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77" h="214">
                    <a:moveTo>
                      <a:pt x="136" y="0"/>
                    </a:moveTo>
                    <a:lnTo>
                      <a:pt x="123" y="4"/>
                    </a:lnTo>
                    <a:lnTo>
                      <a:pt x="119" y="20"/>
                    </a:lnTo>
                    <a:lnTo>
                      <a:pt x="113" y="38"/>
                    </a:lnTo>
                    <a:lnTo>
                      <a:pt x="107" y="54"/>
                    </a:lnTo>
                    <a:lnTo>
                      <a:pt x="97" y="60"/>
                    </a:lnTo>
                    <a:lnTo>
                      <a:pt x="94" y="78"/>
                    </a:lnTo>
                    <a:lnTo>
                      <a:pt x="81" y="78"/>
                    </a:lnTo>
                    <a:lnTo>
                      <a:pt x="65" y="89"/>
                    </a:lnTo>
                    <a:lnTo>
                      <a:pt x="53" y="97"/>
                    </a:lnTo>
                    <a:lnTo>
                      <a:pt x="47" y="112"/>
                    </a:lnTo>
                    <a:lnTo>
                      <a:pt x="6" y="117"/>
                    </a:lnTo>
                    <a:lnTo>
                      <a:pt x="0" y="129"/>
                    </a:lnTo>
                    <a:lnTo>
                      <a:pt x="4" y="145"/>
                    </a:lnTo>
                    <a:lnTo>
                      <a:pt x="15" y="147"/>
                    </a:lnTo>
                    <a:lnTo>
                      <a:pt x="20" y="155"/>
                    </a:lnTo>
                    <a:lnTo>
                      <a:pt x="12" y="166"/>
                    </a:lnTo>
                    <a:lnTo>
                      <a:pt x="0" y="170"/>
                    </a:lnTo>
                    <a:lnTo>
                      <a:pt x="12" y="174"/>
                    </a:lnTo>
                    <a:lnTo>
                      <a:pt x="18" y="187"/>
                    </a:lnTo>
                    <a:lnTo>
                      <a:pt x="42" y="187"/>
                    </a:lnTo>
                    <a:lnTo>
                      <a:pt x="59" y="181"/>
                    </a:lnTo>
                    <a:lnTo>
                      <a:pt x="61" y="193"/>
                    </a:lnTo>
                    <a:lnTo>
                      <a:pt x="78" y="204"/>
                    </a:lnTo>
                    <a:lnTo>
                      <a:pt x="91" y="213"/>
                    </a:lnTo>
                    <a:lnTo>
                      <a:pt x="99" y="204"/>
                    </a:lnTo>
                    <a:lnTo>
                      <a:pt x="127" y="204"/>
                    </a:lnTo>
                    <a:lnTo>
                      <a:pt x="129" y="192"/>
                    </a:lnTo>
                    <a:lnTo>
                      <a:pt x="113" y="171"/>
                    </a:lnTo>
                    <a:lnTo>
                      <a:pt x="102" y="158"/>
                    </a:lnTo>
                    <a:lnTo>
                      <a:pt x="106" y="144"/>
                    </a:lnTo>
                    <a:lnTo>
                      <a:pt x="115" y="135"/>
                    </a:lnTo>
                    <a:lnTo>
                      <a:pt x="140" y="144"/>
                    </a:lnTo>
                    <a:lnTo>
                      <a:pt x="144" y="134"/>
                    </a:lnTo>
                    <a:lnTo>
                      <a:pt x="146" y="123"/>
                    </a:lnTo>
                    <a:lnTo>
                      <a:pt x="161" y="109"/>
                    </a:lnTo>
                    <a:lnTo>
                      <a:pt x="167" y="95"/>
                    </a:lnTo>
                    <a:lnTo>
                      <a:pt x="176" y="85"/>
                    </a:lnTo>
                    <a:lnTo>
                      <a:pt x="174" y="63"/>
                    </a:lnTo>
                    <a:lnTo>
                      <a:pt x="161" y="52"/>
                    </a:lnTo>
                    <a:lnTo>
                      <a:pt x="162" y="32"/>
                    </a:lnTo>
                    <a:lnTo>
                      <a:pt x="155" y="22"/>
                    </a:lnTo>
                    <a:lnTo>
                      <a:pt x="157" y="9"/>
                    </a:lnTo>
                    <a:lnTo>
                      <a:pt x="146" y="2"/>
                    </a:lnTo>
                    <a:lnTo>
                      <a:pt x="136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8" name="Freeform 185">
                <a:extLst>
                  <a:ext uri="{FF2B5EF4-FFF2-40B4-BE49-F238E27FC236}">
                    <a16:creationId xmlns:a16="http://schemas.microsoft.com/office/drawing/2014/main" id="{A6655756-438F-4BB6-A2FC-6CEAAAB713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6" y="2279"/>
                <a:ext cx="61" cy="99"/>
              </a:xfrm>
              <a:custGeom>
                <a:avLst/>
                <a:gdLst>
                  <a:gd name="T0" fmla="*/ 25 w 55"/>
                  <a:gd name="T1" fmla="*/ 0 h 87"/>
                  <a:gd name="T2" fmla="*/ 20 w 55"/>
                  <a:gd name="T3" fmla="*/ 15 h 87"/>
                  <a:gd name="T4" fmla="*/ 0 w 55"/>
                  <a:gd name="T5" fmla="*/ 23 h 87"/>
                  <a:gd name="T6" fmla="*/ 8 w 55"/>
                  <a:gd name="T7" fmla="*/ 35 h 87"/>
                  <a:gd name="T8" fmla="*/ 7 w 55"/>
                  <a:gd name="T9" fmla="*/ 46 h 87"/>
                  <a:gd name="T10" fmla="*/ 19 w 55"/>
                  <a:gd name="T11" fmla="*/ 51 h 87"/>
                  <a:gd name="T12" fmla="*/ 17 w 55"/>
                  <a:gd name="T13" fmla="*/ 79 h 87"/>
                  <a:gd name="T14" fmla="*/ 32 w 55"/>
                  <a:gd name="T15" fmla="*/ 86 h 87"/>
                  <a:gd name="T16" fmla="*/ 54 w 55"/>
                  <a:gd name="T17" fmla="*/ 72 h 87"/>
                  <a:gd name="T18" fmla="*/ 54 w 55"/>
                  <a:gd name="T19" fmla="*/ 38 h 87"/>
                  <a:gd name="T20" fmla="*/ 25 w 55"/>
                  <a:gd name="T21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5" h="87">
                    <a:moveTo>
                      <a:pt x="25" y="0"/>
                    </a:moveTo>
                    <a:lnTo>
                      <a:pt x="20" y="15"/>
                    </a:lnTo>
                    <a:lnTo>
                      <a:pt x="0" y="23"/>
                    </a:lnTo>
                    <a:lnTo>
                      <a:pt x="8" y="35"/>
                    </a:lnTo>
                    <a:lnTo>
                      <a:pt x="7" y="46"/>
                    </a:lnTo>
                    <a:lnTo>
                      <a:pt x="19" y="51"/>
                    </a:lnTo>
                    <a:lnTo>
                      <a:pt x="17" y="79"/>
                    </a:lnTo>
                    <a:lnTo>
                      <a:pt x="32" y="86"/>
                    </a:lnTo>
                    <a:lnTo>
                      <a:pt x="54" y="72"/>
                    </a:lnTo>
                    <a:lnTo>
                      <a:pt x="54" y="38"/>
                    </a:lnTo>
                    <a:lnTo>
                      <a:pt x="25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9" name="Freeform 186">
                <a:extLst>
                  <a:ext uri="{FF2B5EF4-FFF2-40B4-BE49-F238E27FC236}">
                    <a16:creationId xmlns:a16="http://schemas.microsoft.com/office/drawing/2014/main" id="{3433C861-77CF-45DF-BD16-B53CA837DB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9" y="1946"/>
                <a:ext cx="60" cy="122"/>
              </a:xfrm>
              <a:custGeom>
                <a:avLst/>
                <a:gdLst>
                  <a:gd name="T0" fmla="*/ 3 w 54"/>
                  <a:gd name="T1" fmla="*/ 9 h 109"/>
                  <a:gd name="T2" fmla="*/ 3 w 54"/>
                  <a:gd name="T3" fmla="*/ 20 h 109"/>
                  <a:gd name="T4" fmla="*/ 8 w 54"/>
                  <a:gd name="T5" fmla="*/ 34 h 109"/>
                  <a:gd name="T6" fmla="*/ 12 w 54"/>
                  <a:gd name="T7" fmla="*/ 52 h 109"/>
                  <a:gd name="T8" fmla="*/ 17 w 54"/>
                  <a:gd name="T9" fmla="*/ 72 h 109"/>
                  <a:gd name="T10" fmla="*/ 26 w 54"/>
                  <a:gd name="T11" fmla="*/ 81 h 109"/>
                  <a:gd name="T12" fmla="*/ 21 w 54"/>
                  <a:gd name="T13" fmla="*/ 95 h 109"/>
                  <a:gd name="T14" fmla="*/ 23 w 54"/>
                  <a:gd name="T15" fmla="*/ 101 h 109"/>
                  <a:gd name="T16" fmla="*/ 29 w 54"/>
                  <a:gd name="T17" fmla="*/ 101 h 109"/>
                  <a:gd name="T18" fmla="*/ 45 w 54"/>
                  <a:gd name="T19" fmla="*/ 108 h 109"/>
                  <a:gd name="T20" fmla="*/ 53 w 54"/>
                  <a:gd name="T21" fmla="*/ 102 h 109"/>
                  <a:gd name="T22" fmla="*/ 45 w 54"/>
                  <a:gd name="T23" fmla="*/ 83 h 109"/>
                  <a:gd name="T24" fmla="*/ 34 w 54"/>
                  <a:gd name="T25" fmla="*/ 55 h 109"/>
                  <a:gd name="T26" fmla="*/ 44 w 54"/>
                  <a:gd name="T27" fmla="*/ 57 h 109"/>
                  <a:gd name="T28" fmla="*/ 30 w 54"/>
                  <a:gd name="T29" fmla="*/ 37 h 109"/>
                  <a:gd name="T30" fmla="*/ 19 w 54"/>
                  <a:gd name="T31" fmla="*/ 23 h 109"/>
                  <a:gd name="T32" fmla="*/ 16 w 54"/>
                  <a:gd name="T33" fmla="*/ 3 h 109"/>
                  <a:gd name="T34" fmla="*/ 0 w 54"/>
                  <a:gd name="T35" fmla="*/ 0 h 109"/>
                  <a:gd name="T36" fmla="*/ 3 w 54"/>
                  <a:gd name="T37" fmla="*/ 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4" h="109">
                    <a:moveTo>
                      <a:pt x="3" y="9"/>
                    </a:moveTo>
                    <a:lnTo>
                      <a:pt x="3" y="20"/>
                    </a:lnTo>
                    <a:lnTo>
                      <a:pt x="8" y="34"/>
                    </a:lnTo>
                    <a:lnTo>
                      <a:pt x="12" y="52"/>
                    </a:lnTo>
                    <a:lnTo>
                      <a:pt x="17" y="72"/>
                    </a:lnTo>
                    <a:lnTo>
                      <a:pt x="26" y="81"/>
                    </a:lnTo>
                    <a:lnTo>
                      <a:pt x="21" y="95"/>
                    </a:lnTo>
                    <a:lnTo>
                      <a:pt x="23" y="101"/>
                    </a:lnTo>
                    <a:lnTo>
                      <a:pt x="29" y="101"/>
                    </a:lnTo>
                    <a:lnTo>
                      <a:pt x="45" y="108"/>
                    </a:lnTo>
                    <a:lnTo>
                      <a:pt x="53" y="102"/>
                    </a:lnTo>
                    <a:lnTo>
                      <a:pt x="45" y="83"/>
                    </a:lnTo>
                    <a:lnTo>
                      <a:pt x="34" y="55"/>
                    </a:lnTo>
                    <a:lnTo>
                      <a:pt x="44" y="57"/>
                    </a:lnTo>
                    <a:lnTo>
                      <a:pt x="30" y="37"/>
                    </a:lnTo>
                    <a:lnTo>
                      <a:pt x="19" y="23"/>
                    </a:lnTo>
                    <a:lnTo>
                      <a:pt x="16" y="3"/>
                    </a:lnTo>
                    <a:lnTo>
                      <a:pt x="0" y="0"/>
                    </a:lnTo>
                    <a:lnTo>
                      <a:pt x="3" y="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0" name="Freeform 187">
                <a:extLst>
                  <a:ext uri="{FF2B5EF4-FFF2-40B4-BE49-F238E27FC236}">
                    <a16:creationId xmlns:a16="http://schemas.microsoft.com/office/drawing/2014/main" id="{C1D3D50B-B7AA-4E42-B80A-02C3EFB8A7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0" y="2398"/>
                <a:ext cx="459" cy="479"/>
              </a:xfrm>
              <a:custGeom>
                <a:avLst/>
                <a:gdLst>
                  <a:gd name="T0" fmla="*/ 407 w 409"/>
                  <a:gd name="T1" fmla="*/ 105 h 426"/>
                  <a:gd name="T2" fmla="*/ 377 w 409"/>
                  <a:gd name="T3" fmla="*/ 129 h 426"/>
                  <a:gd name="T4" fmla="*/ 359 w 409"/>
                  <a:gd name="T5" fmla="*/ 163 h 426"/>
                  <a:gd name="T6" fmla="*/ 349 w 409"/>
                  <a:gd name="T7" fmla="*/ 184 h 426"/>
                  <a:gd name="T8" fmla="*/ 341 w 409"/>
                  <a:gd name="T9" fmla="*/ 143 h 426"/>
                  <a:gd name="T10" fmla="*/ 309 w 409"/>
                  <a:gd name="T11" fmla="*/ 131 h 426"/>
                  <a:gd name="T12" fmla="*/ 281 w 409"/>
                  <a:gd name="T13" fmla="*/ 148 h 426"/>
                  <a:gd name="T14" fmla="*/ 292 w 409"/>
                  <a:gd name="T15" fmla="*/ 190 h 426"/>
                  <a:gd name="T16" fmla="*/ 272 w 409"/>
                  <a:gd name="T17" fmla="*/ 198 h 426"/>
                  <a:gd name="T18" fmla="*/ 267 w 409"/>
                  <a:gd name="T19" fmla="*/ 221 h 426"/>
                  <a:gd name="T20" fmla="*/ 238 w 409"/>
                  <a:gd name="T21" fmla="*/ 243 h 426"/>
                  <a:gd name="T22" fmla="*/ 213 w 409"/>
                  <a:gd name="T23" fmla="*/ 262 h 426"/>
                  <a:gd name="T24" fmla="*/ 191 w 409"/>
                  <a:gd name="T25" fmla="*/ 293 h 426"/>
                  <a:gd name="T26" fmla="*/ 176 w 409"/>
                  <a:gd name="T27" fmla="*/ 357 h 426"/>
                  <a:gd name="T28" fmla="*/ 176 w 409"/>
                  <a:gd name="T29" fmla="*/ 383 h 426"/>
                  <a:gd name="T30" fmla="*/ 156 w 409"/>
                  <a:gd name="T31" fmla="*/ 417 h 426"/>
                  <a:gd name="T32" fmla="*/ 131 w 409"/>
                  <a:gd name="T33" fmla="*/ 419 h 426"/>
                  <a:gd name="T34" fmla="*/ 110 w 409"/>
                  <a:gd name="T35" fmla="*/ 361 h 426"/>
                  <a:gd name="T36" fmla="*/ 77 w 409"/>
                  <a:gd name="T37" fmla="*/ 290 h 426"/>
                  <a:gd name="T38" fmla="*/ 70 w 409"/>
                  <a:gd name="T39" fmla="*/ 224 h 426"/>
                  <a:gd name="T40" fmla="*/ 59 w 409"/>
                  <a:gd name="T41" fmla="*/ 184 h 426"/>
                  <a:gd name="T42" fmla="*/ 48 w 409"/>
                  <a:gd name="T43" fmla="*/ 208 h 426"/>
                  <a:gd name="T44" fmla="*/ 11 w 409"/>
                  <a:gd name="T45" fmla="*/ 185 h 426"/>
                  <a:gd name="T46" fmla="*/ 7 w 409"/>
                  <a:gd name="T47" fmla="*/ 175 h 426"/>
                  <a:gd name="T48" fmla="*/ 8 w 409"/>
                  <a:gd name="T49" fmla="*/ 154 h 426"/>
                  <a:gd name="T50" fmla="*/ 38 w 409"/>
                  <a:gd name="T51" fmla="*/ 142 h 426"/>
                  <a:gd name="T52" fmla="*/ 11 w 409"/>
                  <a:gd name="T53" fmla="*/ 109 h 426"/>
                  <a:gd name="T54" fmla="*/ 25 w 409"/>
                  <a:gd name="T55" fmla="*/ 86 h 426"/>
                  <a:gd name="T56" fmla="*/ 53 w 409"/>
                  <a:gd name="T57" fmla="*/ 84 h 426"/>
                  <a:gd name="T58" fmla="*/ 70 w 409"/>
                  <a:gd name="T59" fmla="*/ 59 h 426"/>
                  <a:gd name="T60" fmla="*/ 86 w 409"/>
                  <a:gd name="T61" fmla="*/ 36 h 426"/>
                  <a:gd name="T62" fmla="*/ 104 w 409"/>
                  <a:gd name="T63" fmla="*/ 0 h 426"/>
                  <a:gd name="T64" fmla="*/ 132 w 409"/>
                  <a:gd name="T65" fmla="*/ 10 h 426"/>
                  <a:gd name="T66" fmla="*/ 154 w 409"/>
                  <a:gd name="T67" fmla="*/ 41 h 426"/>
                  <a:gd name="T68" fmla="*/ 169 w 409"/>
                  <a:gd name="T69" fmla="*/ 78 h 426"/>
                  <a:gd name="T70" fmla="*/ 198 w 409"/>
                  <a:gd name="T71" fmla="*/ 97 h 426"/>
                  <a:gd name="T72" fmla="*/ 238 w 409"/>
                  <a:gd name="T73" fmla="*/ 109 h 426"/>
                  <a:gd name="T74" fmla="*/ 265 w 409"/>
                  <a:gd name="T75" fmla="*/ 115 h 426"/>
                  <a:gd name="T76" fmla="*/ 287 w 409"/>
                  <a:gd name="T77" fmla="*/ 101 h 426"/>
                  <a:gd name="T78" fmla="*/ 310 w 409"/>
                  <a:gd name="T79" fmla="*/ 94 h 426"/>
                  <a:gd name="T80" fmla="*/ 342 w 409"/>
                  <a:gd name="T81" fmla="*/ 83 h 426"/>
                  <a:gd name="T82" fmla="*/ 383 w 409"/>
                  <a:gd name="T83" fmla="*/ 73 h 426"/>
                  <a:gd name="T84" fmla="*/ 408 w 409"/>
                  <a:gd name="T85" fmla="*/ 97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09" h="426">
                    <a:moveTo>
                      <a:pt x="408" y="97"/>
                    </a:moveTo>
                    <a:lnTo>
                      <a:pt x="407" y="105"/>
                    </a:lnTo>
                    <a:lnTo>
                      <a:pt x="388" y="115"/>
                    </a:lnTo>
                    <a:lnTo>
                      <a:pt x="377" y="129"/>
                    </a:lnTo>
                    <a:lnTo>
                      <a:pt x="372" y="148"/>
                    </a:lnTo>
                    <a:lnTo>
                      <a:pt x="359" y="163"/>
                    </a:lnTo>
                    <a:lnTo>
                      <a:pt x="359" y="192"/>
                    </a:lnTo>
                    <a:lnTo>
                      <a:pt x="349" y="184"/>
                    </a:lnTo>
                    <a:lnTo>
                      <a:pt x="344" y="160"/>
                    </a:lnTo>
                    <a:lnTo>
                      <a:pt x="341" y="143"/>
                    </a:lnTo>
                    <a:lnTo>
                      <a:pt x="323" y="133"/>
                    </a:lnTo>
                    <a:lnTo>
                      <a:pt x="309" y="131"/>
                    </a:lnTo>
                    <a:lnTo>
                      <a:pt x="291" y="118"/>
                    </a:lnTo>
                    <a:lnTo>
                      <a:pt x="281" y="148"/>
                    </a:lnTo>
                    <a:lnTo>
                      <a:pt x="291" y="152"/>
                    </a:lnTo>
                    <a:lnTo>
                      <a:pt x="292" y="190"/>
                    </a:lnTo>
                    <a:lnTo>
                      <a:pt x="282" y="192"/>
                    </a:lnTo>
                    <a:lnTo>
                      <a:pt x="272" y="198"/>
                    </a:lnTo>
                    <a:lnTo>
                      <a:pt x="272" y="216"/>
                    </a:lnTo>
                    <a:lnTo>
                      <a:pt x="267" y="221"/>
                    </a:lnTo>
                    <a:lnTo>
                      <a:pt x="256" y="237"/>
                    </a:lnTo>
                    <a:lnTo>
                      <a:pt x="238" y="243"/>
                    </a:lnTo>
                    <a:lnTo>
                      <a:pt x="228" y="256"/>
                    </a:lnTo>
                    <a:lnTo>
                      <a:pt x="213" y="262"/>
                    </a:lnTo>
                    <a:lnTo>
                      <a:pt x="206" y="282"/>
                    </a:lnTo>
                    <a:lnTo>
                      <a:pt x="191" y="293"/>
                    </a:lnTo>
                    <a:lnTo>
                      <a:pt x="170" y="305"/>
                    </a:lnTo>
                    <a:lnTo>
                      <a:pt x="176" y="357"/>
                    </a:lnTo>
                    <a:lnTo>
                      <a:pt x="170" y="359"/>
                    </a:lnTo>
                    <a:lnTo>
                      <a:pt x="176" y="383"/>
                    </a:lnTo>
                    <a:lnTo>
                      <a:pt x="165" y="400"/>
                    </a:lnTo>
                    <a:lnTo>
                      <a:pt x="156" y="417"/>
                    </a:lnTo>
                    <a:lnTo>
                      <a:pt x="139" y="425"/>
                    </a:lnTo>
                    <a:lnTo>
                      <a:pt x="131" y="419"/>
                    </a:lnTo>
                    <a:lnTo>
                      <a:pt x="128" y="400"/>
                    </a:lnTo>
                    <a:lnTo>
                      <a:pt x="110" y="361"/>
                    </a:lnTo>
                    <a:lnTo>
                      <a:pt x="95" y="316"/>
                    </a:lnTo>
                    <a:lnTo>
                      <a:pt x="77" y="290"/>
                    </a:lnTo>
                    <a:lnTo>
                      <a:pt x="70" y="255"/>
                    </a:lnTo>
                    <a:lnTo>
                      <a:pt x="70" y="224"/>
                    </a:lnTo>
                    <a:lnTo>
                      <a:pt x="66" y="199"/>
                    </a:lnTo>
                    <a:lnTo>
                      <a:pt x="59" y="184"/>
                    </a:lnTo>
                    <a:lnTo>
                      <a:pt x="59" y="198"/>
                    </a:lnTo>
                    <a:lnTo>
                      <a:pt x="48" y="208"/>
                    </a:lnTo>
                    <a:lnTo>
                      <a:pt x="27" y="207"/>
                    </a:lnTo>
                    <a:lnTo>
                      <a:pt x="11" y="185"/>
                    </a:lnTo>
                    <a:lnTo>
                      <a:pt x="20" y="174"/>
                    </a:lnTo>
                    <a:lnTo>
                      <a:pt x="7" y="175"/>
                    </a:lnTo>
                    <a:lnTo>
                      <a:pt x="0" y="163"/>
                    </a:lnTo>
                    <a:lnTo>
                      <a:pt x="8" y="154"/>
                    </a:lnTo>
                    <a:lnTo>
                      <a:pt x="36" y="154"/>
                    </a:lnTo>
                    <a:lnTo>
                      <a:pt x="38" y="142"/>
                    </a:lnTo>
                    <a:lnTo>
                      <a:pt x="23" y="121"/>
                    </a:lnTo>
                    <a:lnTo>
                      <a:pt x="11" y="109"/>
                    </a:lnTo>
                    <a:lnTo>
                      <a:pt x="15" y="94"/>
                    </a:lnTo>
                    <a:lnTo>
                      <a:pt x="25" y="86"/>
                    </a:lnTo>
                    <a:lnTo>
                      <a:pt x="49" y="94"/>
                    </a:lnTo>
                    <a:lnTo>
                      <a:pt x="53" y="84"/>
                    </a:lnTo>
                    <a:lnTo>
                      <a:pt x="55" y="73"/>
                    </a:lnTo>
                    <a:lnTo>
                      <a:pt x="70" y="59"/>
                    </a:lnTo>
                    <a:lnTo>
                      <a:pt x="76" y="46"/>
                    </a:lnTo>
                    <a:lnTo>
                      <a:pt x="86" y="36"/>
                    </a:lnTo>
                    <a:lnTo>
                      <a:pt x="84" y="14"/>
                    </a:lnTo>
                    <a:lnTo>
                      <a:pt x="104" y="0"/>
                    </a:lnTo>
                    <a:lnTo>
                      <a:pt x="121" y="2"/>
                    </a:lnTo>
                    <a:lnTo>
                      <a:pt x="132" y="10"/>
                    </a:lnTo>
                    <a:lnTo>
                      <a:pt x="132" y="36"/>
                    </a:lnTo>
                    <a:lnTo>
                      <a:pt x="154" y="41"/>
                    </a:lnTo>
                    <a:lnTo>
                      <a:pt x="166" y="53"/>
                    </a:lnTo>
                    <a:lnTo>
                      <a:pt x="169" y="78"/>
                    </a:lnTo>
                    <a:lnTo>
                      <a:pt x="180" y="92"/>
                    </a:lnTo>
                    <a:lnTo>
                      <a:pt x="198" y="97"/>
                    </a:lnTo>
                    <a:lnTo>
                      <a:pt x="220" y="105"/>
                    </a:lnTo>
                    <a:lnTo>
                      <a:pt x="238" y="109"/>
                    </a:lnTo>
                    <a:lnTo>
                      <a:pt x="250" y="116"/>
                    </a:lnTo>
                    <a:lnTo>
                      <a:pt x="265" y="115"/>
                    </a:lnTo>
                    <a:lnTo>
                      <a:pt x="279" y="115"/>
                    </a:lnTo>
                    <a:lnTo>
                      <a:pt x="287" y="101"/>
                    </a:lnTo>
                    <a:lnTo>
                      <a:pt x="294" y="87"/>
                    </a:lnTo>
                    <a:lnTo>
                      <a:pt x="310" y="94"/>
                    </a:lnTo>
                    <a:lnTo>
                      <a:pt x="334" y="94"/>
                    </a:lnTo>
                    <a:lnTo>
                      <a:pt x="342" y="83"/>
                    </a:lnTo>
                    <a:lnTo>
                      <a:pt x="360" y="73"/>
                    </a:lnTo>
                    <a:lnTo>
                      <a:pt x="383" y="73"/>
                    </a:lnTo>
                    <a:lnTo>
                      <a:pt x="399" y="82"/>
                    </a:lnTo>
                    <a:lnTo>
                      <a:pt x="408" y="97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1" name="Freeform 188">
                <a:extLst>
                  <a:ext uri="{FF2B5EF4-FFF2-40B4-BE49-F238E27FC236}">
                    <a16:creationId xmlns:a16="http://schemas.microsoft.com/office/drawing/2014/main" id="{B5959929-6C73-40DC-B93F-AFA5F2AF42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3" y="2531"/>
                <a:ext cx="91" cy="96"/>
              </a:xfrm>
              <a:custGeom>
                <a:avLst/>
                <a:gdLst>
                  <a:gd name="T0" fmla="*/ 79 w 80"/>
                  <a:gd name="T1" fmla="*/ 72 h 85"/>
                  <a:gd name="T2" fmla="*/ 72 w 80"/>
                  <a:gd name="T3" fmla="*/ 84 h 85"/>
                  <a:gd name="T4" fmla="*/ 64 w 80"/>
                  <a:gd name="T5" fmla="*/ 82 h 85"/>
                  <a:gd name="T6" fmla="*/ 52 w 80"/>
                  <a:gd name="T7" fmla="*/ 66 h 85"/>
                  <a:gd name="T8" fmla="*/ 54 w 80"/>
                  <a:gd name="T9" fmla="*/ 52 h 85"/>
                  <a:gd name="T10" fmla="*/ 46 w 80"/>
                  <a:gd name="T11" fmla="*/ 41 h 85"/>
                  <a:gd name="T12" fmla="*/ 42 w 80"/>
                  <a:gd name="T13" fmla="*/ 52 h 85"/>
                  <a:gd name="T14" fmla="*/ 29 w 80"/>
                  <a:gd name="T15" fmla="*/ 57 h 85"/>
                  <a:gd name="T16" fmla="*/ 28 w 80"/>
                  <a:gd name="T17" fmla="*/ 73 h 85"/>
                  <a:gd name="T18" fmla="*/ 11 w 80"/>
                  <a:gd name="T19" fmla="*/ 71 h 85"/>
                  <a:gd name="T20" fmla="*/ 10 w 80"/>
                  <a:gd name="T21" fmla="*/ 33 h 85"/>
                  <a:gd name="T22" fmla="*/ 0 w 80"/>
                  <a:gd name="T23" fmla="*/ 30 h 85"/>
                  <a:gd name="T24" fmla="*/ 10 w 80"/>
                  <a:gd name="T25" fmla="*/ 0 h 85"/>
                  <a:gd name="T26" fmla="*/ 28 w 80"/>
                  <a:gd name="T27" fmla="*/ 12 h 85"/>
                  <a:gd name="T28" fmla="*/ 43 w 80"/>
                  <a:gd name="T29" fmla="*/ 15 h 85"/>
                  <a:gd name="T30" fmla="*/ 61 w 80"/>
                  <a:gd name="T31" fmla="*/ 24 h 85"/>
                  <a:gd name="T32" fmla="*/ 64 w 80"/>
                  <a:gd name="T33" fmla="*/ 42 h 85"/>
                  <a:gd name="T34" fmla="*/ 70 w 80"/>
                  <a:gd name="T35" fmla="*/ 65 h 85"/>
                  <a:gd name="T36" fmla="*/ 79 w 80"/>
                  <a:gd name="T37" fmla="*/ 72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0" h="85">
                    <a:moveTo>
                      <a:pt x="79" y="72"/>
                    </a:moveTo>
                    <a:lnTo>
                      <a:pt x="72" y="84"/>
                    </a:lnTo>
                    <a:lnTo>
                      <a:pt x="64" y="82"/>
                    </a:lnTo>
                    <a:lnTo>
                      <a:pt x="52" y="66"/>
                    </a:lnTo>
                    <a:lnTo>
                      <a:pt x="54" y="52"/>
                    </a:lnTo>
                    <a:lnTo>
                      <a:pt x="46" y="41"/>
                    </a:lnTo>
                    <a:lnTo>
                      <a:pt x="42" y="52"/>
                    </a:lnTo>
                    <a:lnTo>
                      <a:pt x="29" y="57"/>
                    </a:lnTo>
                    <a:lnTo>
                      <a:pt x="28" y="73"/>
                    </a:lnTo>
                    <a:lnTo>
                      <a:pt x="11" y="71"/>
                    </a:lnTo>
                    <a:lnTo>
                      <a:pt x="10" y="33"/>
                    </a:lnTo>
                    <a:lnTo>
                      <a:pt x="0" y="30"/>
                    </a:lnTo>
                    <a:lnTo>
                      <a:pt x="10" y="0"/>
                    </a:lnTo>
                    <a:lnTo>
                      <a:pt x="28" y="12"/>
                    </a:lnTo>
                    <a:lnTo>
                      <a:pt x="43" y="15"/>
                    </a:lnTo>
                    <a:lnTo>
                      <a:pt x="61" y="24"/>
                    </a:lnTo>
                    <a:lnTo>
                      <a:pt x="64" y="42"/>
                    </a:lnTo>
                    <a:lnTo>
                      <a:pt x="70" y="65"/>
                    </a:lnTo>
                    <a:lnTo>
                      <a:pt x="79" y="7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2" name="Freeform 189">
                <a:extLst>
                  <a:ext uri="{FF2B5EF4-FFF2-40B4-BE49-F238E27FC236}">
                    <a16:creationId xmlns:a16="http://schemas.microsoft.com/office/drawing/2014/main" id="{51C4DD86-39A6-4708-969A-0FB3B60DC0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2" y="2345"/>
                <a:ext cx="168" cy="157"/>
              </a:xfrm>
              <a:custGeom>
                <a:avLst/>
                <a:gdLst>
                  <a:gd name="T0" fmla="*/ 118 w 149"/>
                  <a:gd name="T1" fmla="*/ 19 h 140"/>
                  <a:gd name="T2" fmla="*/ 135 w 149"/>
                  <a:gd name="T3" fmla="*/ 16 h 140"/>
                  <a:gd name="T4" fmla="*/ 146 w 149"/>
                  <a:gd name="T5" fmla="*/ 27 h 140"/>
                  <a:gd name="T6" fmla="*/ 139 w 149"/>
                  <a:gd name="T7" fmla="*/ 41 h 140"/>
                  <a:gd name="T8" fmla="*/ 148 w 149"/>
                  <a:gd name="T9" fmla="*/ 46 h 140"/>
                  <a:gd name="T10" fmla="*/ 141 w 149"/>
                  <a:gd name="T11" fmla="*/ 70 h 140"/>
                  <a:gd name="T12" fmla="*/ 126 w 149"/>
                  <a:gd name="T13" fmla="*/ 71 h 140"/>
                  <a:gd name="T14" fmla="*/ 122 w 149"/>
                  <a:gd name="T15" fmla="*/ 82 h 140"/>
                  <a:gd name="T16" fmla="*/ 130 w 149"/>
                  <a:gd name="T17" fmla="*/ 89 h 140"/>
                  <a:gd name="T18" fmla="*/ 111 w 149"/>
                  <a:gd name="T19" fmla="*/ 105 h 140"/>
                  <a:gd name="T20" fmla="*/ 100 w 149"/>
                  <a:gd name="T21" fmla="*/ 118 h 140"/>
                  <a:gd name="T22" fmla="*/ 88 w 149"/>
                  <a:gd name="T23" fmla="*/ 124 h 140"/>
                  <a:gd name="T24" fmla="*/ 77 w 149"/>
                  <a:gd name="T25" fmla="*/ 124 h 140"/>
                  <a:gd name="T26" fmla="*/ 74 w 149"/>
                  <a:gd name="T27" fmla="*/ 131 h 140"/>
                  <a:gd name="T28" fmla="*/ 63 w 149"/>
                  <a:gd name="T29" fmla="*/ 130 h 140"/>
                  <a:gd name="T30" fmla="*/ 61 w 149"/>
                  <a:gd name="T31" fmla="*/ 139 h 140"/>
                  <a:gd name="T32" fmla="*/ 46 w 149"/>
                  <a:gd name="T33" fmla="*/ 139 h 140"/>
                  <a:gd name="T34" fmla="*/ 48 w 149"/>
                  <a:gd name="T35" fmla="*/ 132 h 140"/>
                  <a:gd name="T36" fmla="*/ 37 w 149"/>
                  <a:gd name="T37" fmla="*/ 132 h 140"/>
                  <a:gd name="T38" fmla="*/ 0 w 149"/>
                  <a:gd name="T39" fmla="*/ 132 h 140"/>
                  <a:gd name="T40" fmla="*/ 9 w 149"/>
                  <a:gd name="T41" fmla="*/ 120 h 140"/>
                  <a:gd name="T42" fmla="*/ 17 w 149"/>
                  <a:gd name="T43" fmla="*/ 115 h 140"/>
                  <a:gd name="T44" fmla="*/ 25 w 149"/>
                  <a:gd name="T45" fmla="*/ 108 h 140"/>
                  <a:gd name="T46" fmla="*/ 31 w 149"/>
                  <a:gd name="T47" fmla="*/ 64 h 140"/>
                  <a:gd name="T48" fmla="*/ 36 w 149"/>
                  <a:gd name="T49" fmla="*/ 49 h 140"/>
                  <a:gd name="T50" fmla="*/ 42 w 149"/>
                  <a:gd name="T51" fmla="*/ 51 h 140"/>
                  <a:gd name="T52" fmla="*/ 43 w 149"/>
                  <a:gd name="T53" fmla="*/ 41 h 140"/>
                  <a:gd name="T54" fmla="*/ 67 w 149"/>
                  <a:gd name="T55" fmla="*/ 40 h 140"/>
                  <a:gd name="T56" fmla="*/ 67 w 149"/>
                  <a:gd name="T57" fmla="*/ 28 h 140"/>
                  <a:gd name="T58" fmla="*/ 76 w 149"/>
                  <a:gd name="T59" fmla="*/ 19 h 140"/>
                  <a:gd name="T60" fmla="*/ 82 w 149"/>
                  <a:gd name="T61" fmla="*/ 9 h 140"/>
                  <a:gd name="T62" fmla="*/ 85 w 149"/>
                  <a:gd name="T63" fmla="*/ 0 h 140"/>
                  <a:gd name="T64" fmla="*/ 96 w 149"/>
                  <a:gd name="T65" fmla="*/ 7 h 140"/>
                  <a:gd name="T66" fmla="*/ 108 w 149"/>
                  <a:gd name="T67" fmla="*/ 8 h 140"/>
                  <a:gd name="T68" fmla="*/ 118 w 149"/>
                  <a:gd name="T69" fmla="*/ 19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9" h="140">
                    <a:moveTo>
                      <a:pt x="118" y="19"/>
                    </a:moveTo>
                    <a:lnTo>
                      <a:pt x="135" y="16"/>
                    </a:lnTo>
                    <a:lnTo>
                      <a:pt x="146" y="27"/>
                    </a:lnTo>
                    <a:lnTo>
                      <a:pt x="139" y="41"/>
                    </a:lnTo>
                    <a:lnTo>
                      <a:pt x="148" y="46"/>
                    </a:lnTo>
                    <a:lnTo>
                      <a:pt x="141" y="70"/>
                    </a:lnTo>
                    <a:lnTo>
                      <a:pt x="126" y="71"/>
                    </a:lnTo>
                    <a:lnTo>
                      <a:pt x="122" y="82"/>
                    </a:lnTo>
                    <a:lnTo>
                      <a:pt x="130" y="89"/>
                    </a:lnTo>
                    <a:lnTo>
                      <a:pt x="111" y="105"/>
                    </a:lnTo>
                    <a:lnTo>
                      <a:pt x="100" y="118"/>
                    </a:lnTo>
                    <a:lnTo>
                      <a:pt x="88" y="124"/>
                    </a:lnTo>
                    <a:lnTo>
                      <a:pt x="77" y="124"/>
                    </a:lnTo>
                    <a:lnTo>
                      <a:pt x="74" y="131"/>
                    </a:lnTo>
                    <a:lnTo>
                      <a:pt x="63" y="130"/>
                    </a:lnTo>
                    <a:lnTo>
                      <a:pt x="61" y="139"/>
                    </a:lnTo>
                    <a:lnTo>
                      <a:pt x="46" y="139"/>
                    </a:lnTo>
                    <a:lnTo>
                      <a:pt x="48" y="132"/>
                    </a:lnTo>
                    <a:lnTo>
                      <a:pt x="37" y="132"/>
                    </a:lnTo>
                    <a:lnTo>
                      <a:pt x="0" y="132"/>
                    </a:lnTo>
                    <a:lnTo>
                      <a:pt x="9" y="120"/>
                    </a:lnTo>
                    <a:lnTo>
                      <a:pt x="17" y="115"/>
                    </a:lnTo>
                    <a:lnTo>
                      <a:pt x="25" y="108"/>
                    </a:lnTo>
                    <a:lnTo>
                      <a:pt x="31" y="64"/>
                    </a:lnTo>
                    <a:lnTo>
                      <a:pt x="36" y="49"/>
                    </a:lnTo>
                    <a:lnTo>
                      <a:pt x="42" y="51"/>
                    </a:lnTo>
                    <a:lnTo>
                      <a:pt x="43" y="41"/>
                    </a:lnTo>
                    <a:lnTo>
                      <a:pt x="67" y="40"/>
                    </a:lnTo>
                    <a:lnTo>
                      <a:pt x="67" y="28"/>
                    </a:lnTo>
                    <a:lnTo>
                      <a:pt x="76" y="19"/>
                    </a:lnTo>
                    <a:lnTo>
                      <a:pt x="82" y="9"/>
                    </a:lnTo>
                    <a:lnTo>
                      <a:pt x="85" y="0"/>
                    </a:lnTo>
                    <a:lnTo>
                      <a:pt x="96" y="7"/>
                    </a:lnTo>
                    <a:lnTo>
                      <a:pt x="108" y="8"/>
                    </a:lnTo>
                    <a:lnTo>
                      <a:pt x="118" y="1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3" name="Freeform 190">
                <a:extLst>
                  <a:ext uri="{FF2B5EF4-FFF2-40B4-BE49-F238E27FC236}">
                    <a16:creationId xmlns:a16="http://schemas.microsoft.com/office/drawing/2014/main" id="{3EB5337B-C7BA-44A8-A608-AB545B9899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4" y="2319"/>
                <a:ext cx="320" cy="359"/>
              </a:xfrm>
              <a:custGeom>
                <a:avLst/>
                <a:gdLst>
                  <a:gd name="T0" fmla="*/ 89 w 285"/>
                  <a:gd name="T1" fmla="*/ 41 h 320"/>
                  <a:gd name="T2" fmla="*/ 100 w 285"/>
                  <a:gd name="T3" fmla="*/ 52 h 320"/>
                  <a:gd name="T4" fmla="*/ 94 w 285"/>
                  <a:gd name="T5" fmla="*/ 65 h 320"/>
                  <a:gd name="T6" fmla="*/ 102 w 285"/>
                  <a:gd name="T7" fmla="*/ 70 h 320"/>
                  <a:gd name="T8" fmla="*/ 95 w 285"/>
                  <a:gd name="T9" fmla="*/ 95 h 320"/>
                  <a:gd name="T10" fmla="*/ 80 w 285"/>
                  <a:gd name="T11" fmla="*/ 96 h 320"/>
                  <a:gd name="T12" fmla="*/ 77 w 285"/>
                  <a:gd name="T13" fmla="*/ 107 h 320"/>
                  <a:gd name="T14" fmla="*/ 84 w 285"/>
                  <a:gd name="T15" fmla="*/ 113 h 320"/>
                  <a:gd name="T16" fmla="*/ 65 w 285"/>
                  <a:gd name="T17" fmla="*/ 129 h 320"/>
                  <a:gd name="T18" fmla="*/ 54 w 285"/>
                  <a:gd name="T19" fmla="*/ 142 h 320"/>
                  <a:gd name="T20" fmla="*/ 42 w 285"/>
                  <a:gd name="T21" fmla="*/ 148 h 320"/>
                  <a:gd name="T22" fmla="*/ 31 w 285"/>
                  <a:gd name="T23" fmla="*/ 148 h 320"/>
                  <a:gd name="T24" fmla="*/ 28 w 285"/>
                  <a:gd name="T25" fmla="*/ 156 h 320"/>
                  <a:gd name="T26" fmla="*/ 17 w 285"/>
                  <a:gd name="T27" fmla="*/ 154 h 320"/>
                  <a:gd name="T28" fmla="*/ 15 w 285"/>
                  <a:gd name="T29" fmla="*/ 163 h 320"/>
                  <a:gd name="T30" fmla="*/ 0 w 285"/>
                  <a:gd name="T31" fmla="*/ 163 h 320"/>
                  <a:gd name="T32" fmla="*/ 31 w 285"/>
                  <a:gd name="T33" fmla="*/ 200 h 320"/>
                  <a:gd name="T34" fmla="*/ 46 w 285"/>
                  <a:gd name="T35" fmla="*/ 209 h 320"/>
                  <a:gd name="T36" fmla="*/ 146 w 285"/>
                  <a:gd name="T37" fmla="*/ 289 h 320"/>
                  <a:gd name="T38" fmla="*/ 160 w 285"/>
                  <a:gd name="T39" fmla="*/ 295 h 320"/>
                  <a:gd name="T40" fmla="*/ 163 w 285"/>
                  <a:gd name="T41" fmla="*/ 319 h 320"/>
                  <a:gd name="T42" fmla="*/ 176 w 285"/>
                  <a:gd name="T43" fmla="*/ 316 h 320"/>
                  <a:gd name="T44" fmla="*/ 178 w 285"/>
                  <a:gd name="T45" fmla="*/ 309 h 320"/>
                  <a:gd name="T46" fmla="*/ 202 w 285"/>
                  <a:gd name="T47" fmla="*/ 307 h 320"/>
                  <a:gd name="T48" fmla="*/ 212 w 285"/>
                  <a:gd name="T49" fmla="*/ 296 h 320"/>
                  <a:gd name="T50" fmla="*/ 220 w 285"/>
                  <a:gd name="T51" fmla="*/ 291 h 320"/>
                  <a:gd name="T52" fmla="*/ 223 w 285"/>
                  <a:gd name="T53" fmla="*/ 282 h 320"/>
                  <a:gd name="T54" fmla="*/ 246 w 285"/>
                  <a:gd name="T55" fmla="*/ 274 h 320"/>
                  <a:gd name="T56" fmla="*/ 253 w 285"/>
                  <a:gd name="T57" fmla="*/ 264 h 320"/>
                  <a:gd name="T58" fmla="*/ 264 w 285"/>
                  <a:gd name="T59" fmla="*/ 254 h 320"/>
                  <a:gd name="T60" fmla="*/ 279 w 285"/>
                  <a:gd name="T61" fmla="*/ 248 h 320"/>
                  <a:gd name="T62" fmla="*/ 284 w 285"/>
                  <a:gd name="T63" fmla="*/ 241 h 320"/>
                  <a:gd name="T64" fmla="*/ 282 w 285"/>
                  <a:gd name="T65" fmla="*/ 227 h 320"/>
                  <a:gd name="T66" fmla="*/ 259 w 285"/>
                  <a:gd name="T67" fmla="*/ 223 h 320"/>
                  <a:gd name="T68" fmla="*/ 252 w 285"/>
                  <a:gd name="T69" fmla="*/ 216 h 320"/>
                  <a:gd name="T70" fmla="*/ 250 w 285"/>
                  <a:gd name="T71" fmla="*/ 198 h 320"/>
                  <a:gd name="T72" fmla="*/ 253 w 285"/>
                  <a:gd name="T73" fmla="*/ 102 h 320"/>
                  <a:gd name="T74" fmla="*/ 246 w 285"/>
                  <a:gd name="T75" fmla="*/ 101 h 320"/>
                  <a:gd name="T76" fmla="*/ 242 w 285"/>
                  <a:gd name="T77" fmla="*/ 85 h 320"/>
                  <a:gd name="T78" fmla="*/ 229 w 285"/>
                  <a:gd name="T79" fmla="*/ 80 h 320"/>
                  <a:gd name="T80" fmla="*/ 224 w 285"/>
                  <a:gd name="T81" fmla="*/ 63 h 320"/>
                  <a:gd name="T82" fmla="*/ 227 w 285"/>
                  <a:gd name="T83" fmla="*/ 48 h 320"/>
                  <a:gd name="T84" fmla="*/ 241 w 285"/>
                  <a:gd name="T85" fmla="*/ 44 h 320"/>
                  <a:gd name="T86" fmla="*/ 233 w 285"/>
                  <a:gd name="T87" fmla="*/ 33 h 320"/>
                  <a:gd name="T88" fmla="*/ 235 w 285"/>
                  <a:gd name="T89" fmla="*/ 21 h 320"/>
                  <a:gd name="T90" fmla="*/ 242 w 285"/>
                  <a:gd name="T91" fmla="*/ 21 h 320"/>
                  <a:gd name="T92" fmla="*/ 239 w 285"/>
                  <a:gd name="T93" fmla="*/ 3 h 320"/>
                  <a:gd name="T94" fmla="*/ 196 w 285"/>
                  <a:gd name="T95" fmla="*/ 0 h 320"/>
                  <a:gd name="T96" fmla="*/ 176 w 285"/>
                  <a:gd name="T97" fmla="*/ 3 h 320"/>
                  <a:gd name="T98" fmla="*/ 160 w 285"/>
                  <a:gd name="T99" fmla="*/ 8 h 320"/>
                  <a:gd name="T100" fmla="*/ 128 w 285"/>
                  <a:gd name="T101" fmla="*/ 11 h 320"/>
                  <a:gd name="T102" fmla="*/ 117 w 285"/>
                  <a:gd name="T103" fmla="*/ 21 h 320"/>
                  <a:gd name="T104" fmla="*/ 96 w 285"/>
                  <a:gd name="T105" fmla="*/ 25 h 320"/>
                  <a:gd name="T106" fmla="*/ 89 w 285"/>
                  <a:gd name="T107" fmla="*/ 41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85" h="320">
                    <a:moveTo>
                      <a:pt x="89" y="41"/>
                    </a:moveTo>
                    <a:lnTo>
                      <a:pt x="100" y="52"/>
                    </a:lnTo>
                    <a:lnTo>
                      <a:pt x="94" y="65"/>
                    </a:lnTo>
                    <a:lnTo>
                      <a:pt x="102" y="70"/>
                    </a:lnTo>
                    <a:lnTo>
                      <a:pt x="95" y="95"/>
                    </a:lnTo>
                    <a:lnTo>
                      <a:pt x="80" y="96"/>
                    </a:lnTo>
                    <a:lnTo>
                      <a:pt x="77" y="107"/>
                    </a:lnTo>
                    <a:lnTo>
                      <a:pt x="84" y="113"/>
                    </a:lnTo>
                    <a:lnTo>
                      <a:pt x="65" y="129"/>
                    </a:lnTo>
                    <a:lnTo>
                      <a:pt x="54" y="142"/>
                    </a:lnTo>
                    <a:lnTo>
                      <a:pt x="42" y="148"/>
                    </a:lnTo>
                    <a:lnTo>
                      <a:pt x="31" y="148"/>
                    </a:lnTo>
                    <a:lnTo>
                      <a:pt x="28" y="156"/>
                    </a:lnTo>
                    <a:lnTo>
                      <a:pt x="17" y="154"/>
                    </a:lnTo>
                    <a:lnTo>
                      <a:pt x="15" y="163"/>
                    </a:lnTo>
                    <a:lnTo>
                      <a:pt x="0" y="163"/>
                    </a:lnTo>
                    <a:lnTo>
                      <a:pt x="31" y="200"/>
                    </a:lnTo>
                    <a:lnTo>
                      <a:pt x="46" y="209"/>
                    </a:lnTo>
                    <a:lnTo>
                      <a:pt x="146" y="289"/>
                    </a:lnTo>
                    <a:lnTo>
                      <a:pt x="160" y="295"/>
                    </a:lnTo>
                    <a:lnTo>
                      <a:pt x="163" y="319"/>
                    </a:lnTo>
                    <a:lnTo>
                      <a:pt x="176" y="316"/>
                    </a:lnTo>
                    <a:lnTo>
                      <a:pt x="178" y="309"/>
                    </a:lnTo>
                    <a:lnTo>
                      <a:pt x="202" y="307"/>
                    </a:lnTo>
                    <a:lnTo>
                      <a:pt x="212" y="296"/>
                    </a:lnTo>
                    <a:lnTo>
                      <a:pt x="220" y="291"/>
                    </a:lnTo>
                    <a:lnTo>
                      <a:pt x="223" y="282"/>
                    </a:lnTo>
                    <a:lnTo>
                      <a:pt x="246" y="274"/>
                    </a:lnTo>
                    <a:lnTo>
                      <a:pt x="253" y="264"/>
                    </a:lnTo>
                    <a:lnTo>
                      <a:pt x="264" y="254"/>
                    </a:lnTo>
                    <a:lnTo>
                      <a:pt x="279" y="248"/>
                    </a:lnTo>
                    <a:lnTo>
                      <a:pt x="284" y="241"/>
                    </a:lnTo>
                    <a:lnTo>
                      <a:pt x="282" y="227"/>
                    </a:lnTo>
                    <a:lnTo>
                      <a:pt x="259" y="223"/>
                    </a:lnTo>
                    <a:lnTo>
                      <a:pt x="252" y="216"/>
                    </a:lnTo>
                    <a:lnTo>
                      <a:pt x="250" y="198"/>
                    </a:lnTo>
                    <a:lnTo>
                      <a:pt x="253" y="102"/>
                    </a:lnTo>
                    <a:lnTo>
                      <a:pt x="246" y="101"/>
                    </a:lnTo>
                    <a:lnTo>
                      <a:pt x="242" y="85"/>
                    </a:lnTo>
                    <a:lnTo>
                      <a:pt x="229" y="80"/>
                    </a:lnTo>
                    <a:lnTo>
                      <a:pt x="224" y="63"/>
                    </a:lnTo>
                    <a:lnTo>
                      <a:pt x="227" y="48"/>
                    </a:lnTo>
                    <a:lnTo>
                      <a:pt x="241" y="44"/>
                    </a:lnTo>
                    <a:lnTo>
                      <a:pt x="233" y="33"/>
                    </a:lnTo>
                    <a:lnTo>
                      <a:pt x="235" y="21"/>
                    </a:lnTo>
                    <a:lnTo>
                      <a:pt x="242" y="21"/>
                    </a:lnTo>
                    <a:lnTo>
                      <a:pt x="239" y="3"/>
                    </a:lnTo>
                    <a:lnTo>
                      <a:pt x="196" y="0"/>
                    </a:lnTo>
                    <a:lnTo>
                      <a:pt x="176" y="3"/>
                    </a:lnTo>
                    <a:lnTo>
                      <a:pt x="160" y="8"/>
                    </a:lnTo>
                    <a:lnTo>
                      <a:pt x="128" y="11"/>
                    </a:lnTo>
                    <a:lnTo>
                      <a:pt x="117" y="21"/>
                    </a:lnTo>
                    <a:lnTo>
                      <a:pt x="96" y="25"/>
                    </a:lnTo>
                    <a:lnTo>
                      <a:pt x="89" y="41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4" name="Freeform 191">
                <a:extLst>
                  <a:ext uri="{FF2B5EF4-FFF2-40B4-BE49-F238E27FC236}">
                    <a16:creationId xmlns:a16="http://schemas.microsoft.com/office/drawing/2014/main" id="{7FAF66C4-6741-462A-A530-3BD07D2950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6" y="2771"/>
                <a:ext cx="154" cy="235"/>
              </a:xfrm>
              <a:custGeom>
                <a:avLst/>
                <a:gdLst>
                  <a:gd name="T0" fmla="*/ 0 w 138"/>
                  <a:gd name="T1" fmla="*/ 157 h 209"/>
                  <a:gd name="T2" fmla="*/ 26 w 138"/>
                  <a:gd name="T3" fmla="*/ 135 h 209"/>
                  <a:gd name="T4" fmla="*/ 35 w 138"/>
                  <a:gd name="T5" fmla="*/ 124 h 209"/>
                  <a:gd name="T6" fmla="*/ 47 w 138"/>
                  <a:gd name="T7" fmla="*/ 113 h 209"/>
                  <a:gd name="T8" fmla="*/ 63 w 138"/>
                  <a:gd name="T9" fmla="*/ 102 h 209"/>
                  <a:gd name="T10" fmla="*/ 72 w 138"/>
                  <a:gd name="T11" fmla="*/ 85 h 209"/>
                  <a:gd name="T12" fmla="*/ 79 w 138"/>
                  <a:gd name="T13" fmla="*/ 58 h 209"/>
                  <a:gd name="T14" fmla="*/ 83 w 138"/>
                  <a:gd name="T15" fmla="*/ 51 h 209"/>
                  <a:gd name="T16" fmla="*/ 92 w 138"/>
                  <a:gd name="T17" fmla="*/ 45 h 209"/>
                  <a:gd name="T18" fmla="*/ 94 w 138"/>
                  <a:gd name="T19" fmla="*/ 25 h 209"/>
                  <a:gd name="T20" fmla="*/ 91 w 138"/>
                  <a:gd name="T21" fmla="*/ 1 h 209"/>
                  <a:gd name="T22" fmla="*/ 97 w 138"/>
                  <a:gd name="T23" fmla="*/ 0 h 209"/>
                  <a:gd name="T24" fmla="*/ 100 w 138"/>
                  <a:gd name="T25" fmla="*/ 10 h 209"/>
                  <a:gd name="T26" fmla="*/ 104 w 138"/>
                  <a:gd name="T27" fmla="*/ 18 h 209"/>
                  <a:gd name="T28" fmla="*/ 111 w 138"/>
                  <a:gd name="T29" fmla="*/ 32 h 209"/>
                  <a:gd name="T30" fmla="*/ 111 w 138"/>
                  <a:gd name="T31" fmla="*/ 40 h 209"/>
                  <a:gd name="T32" fmla="*/ 105 w 138"/>
                  <a:gd name="T33" fmla="*/ 43 h 209"/>
                  <a:gd name="T34" fmla="*/ 108 w 138"/>
                  <a:gd name="T35" fmla="*/ 46 h 209"/>
                  <a:gd name="T36" fmla="*/ 111 w 138"/>
                  <a:gd name="T37" fmla="*/ 54 h 209"/>
                  <a:gd name="T38" fmla="*/ 116 w 138"/>
                  <a:gd name="T39" fmla="*/ 62 h 209"/>
                  <a:gd name="T40" fmla="*/ 115 w 138"/>
                  <a:gd name="T41" fmla="*/ 69 h 209"/>
                  <a:gd name="T42" fmla="*/ 108 w 138"/>
                  <a:gd name="T43" fmla="*/ 73 h 209"/>
                  <a:gd name="T44" fmla="*/ 109 w 138"/>
                  <a:gd name="T45" fmla="*/ 81 h 209"/>
                  <a:gd name="T46" fmla="*/ 120 w 138"/>
                  <a:gd name="T47" fmla="*/ 95 h 209"/>
                  <a:gd name="T48" fmla="*/ 128 w 138"/>
                  <a:gd name="T49" fmla="*/ 111 h 209"/>
                  <a:gd name="T50" fmla="*/ 121 w 138"/>
                  <a:gd name="T51" fmla="*/ 120 h 209"/>
                  <a:gd name="T52" fmla="*/ 115 w 138"/>
                  <a:gd name="T53" fmla="*/ 139 h 209"/>
                  <a:gd name="T54" fmla="*/ 125 w 138"/>
                  <a:gd name="T55" fmla="*/ 156 h 209"/>
                  <a:gd name="T56" fmla="*/ 132 w 138"/>
                  <a:gd name="T57" fmla="*/ 176 h 209"/>
                  <a:gd name="T58" fmla="*/ 137 w 138"/>
                  <a:gd name="T59" fmla="*/ 185 h 209"/>
                  <a:gd name="T60" fmla="*/ 92 w 138"/>
                  <a:gd name="T61" fmla="*/ 190 h 209"/>
                  <a:gd name="T62" fmla="*/ 69 w 138"/>
                  <a:gd name="T63" fmla="*/ 193 h 209"/>
                  <a:gd name="T64" fmla="*/ 60 w 138"/>
                  <a:gd name="T65" fmla="*/ 200 h 209"/>
                  <a:gd name="T66" fmla="*/ 60 w 138"/>
                  <a:gd name="T67" fmla="*/ 206 h 209"/>
                  <a:gd name="T68" fmla="*/ 40 w 138"/>
                  <a:gd name="T69" fmla="*/ 208 h 209"/>
                  <a:gd name="T70" fmla="*/ 37 w 138"/>
                  <a:gd name="T71" fmla="*/ 193 h 209"/>
                  <a:gd name="T72" fmla="*/ 44 w 138"/>
                  <a:gd name="T73" fmla="*/ 178 h 209"/>
                  <a:gd name="T74" fmla="*/ 37 w 138"/>
                  <a:gd name="T75" fmla="*/ 170 h 209"/>
                  <a:gd name="T76" fmla="*/ 22 w 138"/>
                  <a:gd name="T77" fmla="*/ 164 h 209"/>
                  <a:gd name="T78" fmla="*/ 0 w 138"/>
                  <a:gd name="T79" fmla="*/ 157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38" h="209">
                    <a:moveTo>
                      <a:pt x="0" y="157"/>
                    </a:moveTo>
                    <a:lnTo>
                      <a:pt x="26" y="135"/>
                    </a:lnTo>
                    <a:lnTo>
                      <a:pt x="35" y="124"/>
                    </a:lnTo>
                    <a:lnTo>
                      <a:pt x="47" y="113"/>
                    </a:lnTo>
                    <a:lnTo>
                      <a:pt x="63" y="102"/>
                    </a:lnTo>
                    <a:lnTo>
                      <a:pt x="72" y="85"/>
                    </a:lnTo>
                    <a:lnTo>
                      <a:pt x="79" y="58"/>
                    </a:lnTo>
                    <a:lnTo>
                      <a:pt x="83" y="51"/>
                    </a:lnTo>
                    <a:lnTo>
                      <a:pt x="92" y="45"/>
                    </a:lnTo>
                    <a:lnTo>
                      <a:pt x="94" y="25"/>
                    </a:lnTo>
                    <a:lnTo>
                      <a:pt x="91" y="1"/>
                    </a:lnTo>
                    <a:lnTo>
                      <a:pt x="97" y="0"/>
                    </a:lnTo>
                    <a:lnTo>
                      <a:pt x="100" y="10"/>
                    </a:lnTo>
                    <a:lnTo>
                      <a:pt x="104" y="18"/>
                    </a:lnTo>
                    <a:lnTo>
                      <a:pt x="111" y="32"/>
                    </a:lnTo>
                    <a:lnTo>
                      <a:pt x="111" y="40"/>
                    </a:lnTo>
                    <a:lnTo>
                      <a:pt x="105" y="43"/>
                    </a:lnTo>
                    <a:lnTo>
                      <a:pt x="108" y="46"/>
                    </a:lnTo>
                    <a:lnTo>
                      <a:pt x="111" y="54"/>
                    </a:lnTo>
                    <a:lnTo>
                      <a:pt x="116" y="62"/>
                    </a:lnTo>
                    <a:lnTo>
                      <a:pt x="115" y="69"/>
                    </a:lnTo>
                    <a:lnTo>
                      <a:pt x="108" y="73"/>
                    </a:lnTo>
                    <a:lnTo>
                      <a:pt x="109" y="81"/>
                    </a:lnTo>
                    <a:lnTo>
                      <a:pt x="120" y="95"/>
                    </a:lnTo>
                    <a:lnTo>
                      <a:pt x="128" y="111"/>
                    </a:lnTo>
                    <a:lnTo>
                      <a:pt x="121" y="120"/>
                    </a:lnTo>
                    <a:lnTo>
                      <a:pt x="115" y="139"/>
                    </a:lnTo>
                    <a:lnTo>
                      <a:pt x="125" y="156"/>
                    </a:lnTo>
                    <a:lnTo>
                      <a:pt x="132" y="176"/>
                    </a:lnTo>
                    <a:lnTo>
                      <a:pt x="137" y="185"/>
                    </a:lnTo>
                    <a:lnTo>
                      <a:pt x="92" y="190"/>
                    </a:lnTo>
                    <a:lnTo>
                      <a:pt x="69" y="193"/>
                    </a:lnTo>
                    <a:lnTo>
                      <a:pt x="60" y="200"/>
                    </a:lnTo>
                    <a:lnTo>
                      <a:pt x="60" y="206"/>
                    </a:lnTo>
                    <a:lnTo>
                      <a:pt x="40" y="208"/>
                    </a:lnTo>
                    <a:lnTo>
                      <a:pt x="37" y="193"/>
                    </a:lnTo>
                    <a:lnTo>
                      <a:pt x="44" y="178"/>
                    </a:lnTo>
                    <a:lnTo>
                      <a:pt x="37" y="170"/>
                    </a:lnTo>
                    <a:lnTo>
                      <a:pt x="22" y="164"/>
                    </a:lnTo>
                    <a:lnTo>
                      <a:pt x="0" y="157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" name="Freeform 192">
                <a:extLst>
                  <a:ext uri="{FF2B5EF4-FFF2-40B4-BE49-F238E27FC236}">
                    <a16:creationId xmlns:a16="http://schemas.microsoft.com/office/drawing/2014/main" id="{31BDB155-C3B7-4100-9FE7-E7ADC43F88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0" y="1951"/>
                <a:ext cx="594" cy="302"/>
              </a:xfrm>
              <a:custGeom>
                <a:avLst/>
                <a:gdLst>
                  <a:gd name="T0" fmla="*/ 516 w 531"/>
                  <a:gd name="T1" fmla="*/ 78 h 270"/>
                  <a:gd name="T2" fmla="*/ 486 w 531"/>
                  <a:gd name="T3" fmla="*/ 58 h 270"/>
                  <a:gd name="T4" fmla="*/ 449 w 531"/>
                  <a:gd name="T5" fmla="*/ 16 h 270"/>
                  <a:gd name="T6" fmla="*/ 408 w 531"/>
                  <a:gd name="T7" fmla="*/ 25 h 270"/>
                  <a:gd name="T8" fmla="*/ 391 w 531"/>
                  <a:gd name="T9" fmla="*/ 11 h 270"/>
                  <a:gd name="T10" fmla="*/ 351 w 531"/>
                  <a:gd name="T11" fmla="*/ 5 h 270"/>
                  <a:gd name="T12" fmla="*/ 294 w 531"/>
                  <a:gd name="T13" fmla="*/ 7 h 270"/>
                  <a:gd name="T14" fmla="*/ 265 w 531"/>
                  <a:gd name="T15" fmla="*/ 3 h 270"/>
                  <a:gd name="T16" fmla="*/ 252 w 531"/>
                  <a:gd name="T17" fmla="*/ 32 h 270"/>
                  <a:gd name="T18" fmla="*/ 250 w 531"/>
                  <a:gd name="T19" fmla="*/ 34 h 270"/>
                  <a:gd name="T20" fmla="*/ 247 w 531"/>
                  <a:gd name="T21" fmla="*/ 36 h 270"/>
                  <a:gd name="T22" fmla="*/ 244 w 531"/>
                  <a:gd name="T23" fmla="*/ 37 h 270"/>
                  <a:gd name="T24" fmla="*/ 242 w 531"/>
                  <a:gd name="T25" fmla="*/ 39 h 270"/>
                  <a:gd name="T26" fmla="*/ 239 w 531"/>
                  <a:gd name="T27" fmla="*/ 40 h 270"/>
                  <a:gd name="T28" fmla="*/ 237 w 531"/>
                  <a:gd name="T29" fmla="*/ 40 h 270"/>
                  <a:gd name="T30" fmla="*/ 237 w 531"/>
                  <a:gd name="T31" fmla="*/ 43 h 270"/>
                  <a:gd name="T32" fmla="*/ 238 w 531"/>
                  <a:gd name="T33" fmla="*/ 47 h 270"/>
                  <a:gd name="T34" fmla="*/ 240 w 531"/>
                  <a:gd name="T35" fmla="*/ 52 h 270"/>
                  <a:gd name="T36" fmla="*/ 242 w 531"/>
                  <a:gd name="T37" fmla="*/ 56 h 270"/>
                  <a:gd name="T38" fmla="*/ 236 w 531"/>
                  <a:gd name="T39" fmla="*/ 67 h 270"/>
                  <a:gd name="T40" fmla="*/ 196 w 531"/>
                  <a:gd name="T41" fmla="*/ 47 h 270"/>
                  <a:gd name="T42" fmla="*/ 164 w 531"/>
                  <a:gd name="T43" fmla="*/ 44 h 270"/>
                  <a:gd name="T44" fmla="*/ 130 w 531"/>
                  <a:gd name="T45" fmla="*/ 12 h 270"/>
                  <a:gd name="T46" fmla="*/ 85 w 531"/>
                  <a:gd name="T47" fmla="*/ 7 h 270"/>
                  <a:gd name="T48" fmla="*/ 59 w 531"/>
                  <a:gd name="T49" fmla="*/ 25 h 270"/>
                  <a:gd name="T50" fmla="*/ 20 w 531"/>
                  <a:gd name="T51" fmla="*/ 34 h 270"/>
                  <a:gd name="T52" fmla="*/ 7 w 531"/>
                  <a:gd name="T53" fmla="*/ 74 h 270"/>
                  <a:gd name="T54" fmla="*/ 25 w 531"/>
                  <a:gd name="T55" fmla="*/ 104 h 270"/>
                  <a:gd name="T56" fmla="*/ 6 w 531"/>
                  <a:gd name="T57" fmla="*/ 145 h 270"/>
                  <a:gd name="T58" fmla="*/ 43 w 531"/>
                  <a:gd name="T59" fmla="*/ 145 h 270"/>
                  <a:gd name="T60" fmla="*/ 59 w 531"/>
                  <a:gd name="T61" fmla="*/ 144 h 270"/>
                  <a:gd name="T62" fmla="*/ 59 w 531"/>
                  <a:gd name="T63" fmla="*/ 171 h 270"/>
                  <a:gd name="T64" fmla="*/ 31 w 531"/>
                  <a:gd name="T65" fmla="*/ 178 h 270"/>
                  <a:gd name="T66" fmla="*/ 19 w 531"/>
                  <a:gd name="T67" fmla="*/ 190 h 270"/>
                  <a:gd name="T68" fmla="*/ 26 w 531"/>
                  <a:gd name="T69" fmla="*/ 215 h 270"/>
                  <a:gd name="T70" fmla="*/ 54 w 531"/>
                  <a:gd name="T71" fmla="*/ 240 h 270"/>
                  <a:gd name="T72" fmla="*/ 75 w 531"/>
                  <a:gd name="T73" fmla="*/ 228 h 270"/>
                  <a:gd name="T74" fmla="*/ 93 w 531"/>
                  <a:gd name="T75" fmla="*/ 242 h 270"/>
                  <a:gd name="T76" fmla="*/ 105 w 531"/>
                  <a:gd name="T77" fmla="*/ 256 h 270"/>
                  <a:gd name="T78" fmla="*/ 130 w 531"/>
                  <a:gd name="T79" fmla="*/ 189 h 270"/>
                  <a:gd name="T80" fmla="*/ 174 w 531"/>
                  <a:gd name="T81" fmla="*/ 161 h 270"/>
                  <a:gd name="T82" fmla="*/ 202 w 531"/>
                  <a:gd name="T83" fmla="*/ 145 h 270"/>
                  <a:gd name="T84" fmla="*/ 210 w 531"/>
                  <a:gd name="T85" fmla="*/ 178 h 270"/>
                  <a:gd name="T86" fmla="*/ 214 w 531"/>
                  <a:gd name="T87" fmla="*/ 201 h 270"/>
                  <a:gd name="T88" fmla="*/ 237 w 531"/>
                  <a:gd name="T89" fmla="*/ 209 h 270"/>
                  <a:gd name="T90" fmla="*/ 269 w 531"/>
                  <a:gd name="T91" fmla="*/ 218 h 270"/>
                  <a:gd name="T92" fmla="*/ 275 w 531"/>
                  <a:gd name="T93" fmla="*/ 253 h 270"/>
                  <a:gd name="T94" fmla="*/ 302 w 531"/>
                  <a:gd name="T95" fmla="*/ 269 h 270"/>
                  <a:gd name="T96" fmla="*/ 354 w 531"/>
                  <a:gd name="T97" fmla="*/ 244 h 270"/>
                  <a:gd name="T98" fmla="*/ 347 w 531"/>
                  <a:gd name="T99" fmla="*/ 226 h 270"/>
                  <a:gd name="T100" fmla="*/ 323 w 531"/>
                  <a:gd name="T101" fmla="*/ 217 h 270"/>
                  <a:gd name="T102" fmla="*/ 328 w 531"/>
                  <a:gd name="T103" fmla="*/ 199 h 270"/>
                  <a:gd name="T104" fmla="*/ 338 w 531"/>
                  <a:gd name="T105" fmla="*/ 186 h 270"/>
                  <a:gd name="T106" fmla="*/ 357 w 531"/>
                  <a:gd name="T107" fmla="*/ 189 h 270"/>
                  <a:gd name="T108" fmla="*/ 387 w 531"/>
                  <a:gd name="T109" fmla="*/ 193 h 270"/>
                  <a:gd name="T110" fmla="*/ 437 w 531"/>
                  <a:gd name="T111" fmla="*/ 189 h 270"/>
                  <a:gd name="T112" fmla="*/ 459 w 531"/>
                  <a:gd name="T113" fmla="*/ 195 h 270"/>
                  <a:gd name="T114" fmla="*/ 475 w 531"/>
                  <a:gd name="T115" fmla="*/ 167 h 270"/>
                  <a:gd name="T116" fmla="*/ 499 w 531"/>
                  <a:gd name="T117" fmla="*/ 140 h 270"/>
                  <a:gd name="T118" fmla="*/ 517 w 531"/>
                  <a:gd name="T119" fmla="*/ 130 h 270"/>
                  <a:gd name="T120" fmla="*/ 530 w 531"/>
                  <a:gd name="T121" fmla="*/ 113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31" h="270">
                    <a:moveTo>
                      <a:pt x="530" y="113"/>
                    </a:moveTo>
                    <a:lnTo>
                      <a:pt x="516" y="78"/>
                    </a:lnTo>
                    <a:lnTo>
                      <a:pt x="494" y="69"/>
                    </a:lnTo>
                    <a:lnTo>
                      <a:pt x="486" y="58"/>
                    </a:lnTo>
                    <a:lnTo>
                      <a:pt x="471" y="57"/>
                    </a:lnTo>
                    <a:lnTo>
                      <a:pt x="449" y="16"/>
                    </a:lnTo>
                    <a:lnTo>
                      <a:pt x="431" y="16"/>
                    </a:lnTo>
                    <a:lnTo>
                      <a:pt x="408" y="25"/>
                    </a:lnTo>
                    <a:lnTo>
                      <a:pt x="393" y="23"/>
                    </a:lnTo>
                    <a:lnTo>
                      <a:pt x="391" y="11"/>
                    </a:lnTo>
                    <a:lnTo>
                      <a:pt x="379" y="0"/>
                    </a:lnTo>
                    <a:lnTo>
                      <a:pt x="351" y="5"/>
                    </a:lnTo>
                    <a:lnTo>
                      <a:pt x="330" y="10"/>
                    </a:lnTo>
                    <a:lnTo>
                      <a:pt x="294" y="7"/>
                    </a:lnTo>
                    <a:lnTo>
                      <a:pt x="275" y="2"/>
                    </a:lnTo>
                    <a:lnTo>
                      <a:pt x="265" y="3"/>
                    </a:lnTo>
                    <a:lnTo>
                      <a:pt x="269" y="25"/>
                    </a:lnTo>
                    <a:lnTo>
                      <a:pt x="252" y="32"/>
                    </a:lnTo>
                    <a:lnTo>
                      <a:pt x="251" y="33"/>
                    </a:lnTo>
                    <a:lnTo>
                      <a:pt x="250" y="34"/>
                    </a:lnTo>
                    <a:lnTo>
                      <a:pt x="248" y="35"/>
                    </a:lnTo>
                    <a:lnTo>
                      <a:pt x="247" y="36"/>
                    </a:lnTo>
                    <a:lnTo>
                      <a:pt x="246" y="36"/>
                    </a:lnTo>
                    <a:lnTo>
                      <a:pt x="244" y="37"/>
                    </a:lnTo>
                    <a:lnTo>
                      <a:pt x="243" y="38"/>
                    </a:lnTo>
                    <a:lnTo>
                      <a:pt x="242" y="39"/>
                    </a:lnTo>
                    <a:lnTo>
                      <a:pt x="240" y="40"/>
                    </a:lnTo>
                    <a:lnTo>
                      <a:pt x="239" y="40"/>
                    </a:lnTo>
                    <a:lnTo>
                      <a:pt x="238" y="40"/>
                    </a:lnTo>
                    <a:lnTo>
                      <a:pt x="237" y="40"/>
                    </a:lnTo>
                    <a:lnTo>
                      <a:pt x="237" y="41"/>
                    </a:lnTo>
                    <a:lnTo>
                      <a:pt x="237" y="43"/>
                    </a:lnTo>
                    <a:lnTo>
                      <a:pt x="237" y="45"/>
                    </a:lnTo>
                    <a:lnTo>
                      <a:pt x="238" y="47"/>
                    </a:lnTo>
                    <a:lnTo>
                      <a:pt x="239" y="50"/>
                    </a:lnTo>
                    <a:lnTo>
                      <a:pt x="240" y="52"/>
                    </a:lnTo>
                    <a:lnTo>
                      <a:pt x="241" y="54"/>
                    </a:lnTo>
                    <a:lnTo>
                      <a:pt x="242" y="56"/>
                    </a:lnTo>
                    <a:lnTo>
                      <a:pt x="243" y="58"/>
                    </a:lnTo>
                    <a:lnTo>
                      <a:pt x="236" y="67"/>
                    </a:lnTo>
                    <a:lnTo>
                      <a:pt x="222" y="62"/>
                    </a:lnTo>
                    <a:lnTo>
                      <a:pt x="196" y="47"/>
                    </a:lnTo>
                    <a:lnTo>
                      <a:pt x="177" y="49"/>
                    </a:lnTo>
                    <a:lnTo>
                      <a:pt x="164" y="44"/>
                    </a:lnTo>
                    <a:lnTo>
                      <a:pt x="165" y="35"/>
                    </a:lnTo>
                    <a:lnTo>
                      <a:pt x="130" y="12"/>
                    </a:lnTo>
                    <a:lnTo>
                      <a:pt x="107" y="11"/>
                    </a:lnTo>
                    <a:lnTo>
                      <a:pt x="85" y="7"/>
                    </a:lnTo>
                    <a:lnTo>
                      <a:pt x="66" y="12"/>
                    </a:lnTo>
                    <a:lnTo>
                      <a:pt x="59" y="25"/>
                    </a:lnTo>
                    <a:lnTo>
                      <a:pt x="44" y="7"/>
                    </a:lnTo>
                    <a:lnTo>
                      <a:pt x="20" y="34"/>
                    </a:lnTo>
                    <a:lnTo>
                      <a:pt x="0" y="58"/>
                    </a:lnTo>
                    <a:lnTo>
                      <a:pt x="7" y="74"/>
                    </a:lnTo>
                    <a:lnTo>
                      <a:pt x="24" y="85"/>
                    </a:lnTo>
                    <a:lnTo>
                      <a:pt x="25" y="104"/>
                    </a:lnTo>
                    <a:lnTo>
                      <a:pt x="12" y="118"/>
                    </a:lnTo>
                    <a:lnTo>
                      <a:pt x="6" y="145"/>
                    </a:lnTo>
                    <a:lnTo>
                      <a:pt x="25" y="140"/>
                    </a:lnTo>
                    <a:lnTo>
                      <a:pt x="43" y="145"/>
                    </a:lnTo>
                    <a:lnTo>
                      <a:pt x="48" y="138"/>
                    </a:lnTo>
                    <a:lnTo>
                      <a:pt x="59" y="144"/>
                    </a:lnTo>
                    <a:lnTo>
                      <a:pt x="54" y="162"/>
                    </a:lnTo>
                    <a:lnTo>
                      <a:pt x="59" y="171"/>
                    </a:lnTo>
                    <a:lnTo>
                      <a:pt x="38" y="171"/>
                    </a:lnTo>
                    <a:lnTo>
                      <a:pt x="31" y="178"/>
                    </a:lnTo>
                    <a:lnTo>
                      <a:pt x="30" y="189"/>
                    </a:lnTo>
                    <a:lnTo>
                      <a:pt x="19" y="190"/>
                    </a:lnTo>
                    <a:lnTo>
                      <a:pt x="20" y="200"/>
                    </a:lnTo>
                    <a:lnTo>
                      <a:pt x="26" y="215"/>
                    </a:lnTo>
                    <a:lnTo>
                      <a:pt x="48" y="215"/>
                    </a:lnTo>
                    <a:lnTo>
                      <a:pt x="54" y="240"/>
                    </a:lnTo>
                    <a:lnTo>
                      <a:pt x="59" y="226"/>
                    </a:lnTo>
                    <a:lnTo>
                      <a:pt x="75" y="228"/>
                    </a:lnTo>
                    <a:lnTo>
                      <a:pt x="80" y="248"/>
                    </a:lnTo>
                    <a:lnTo>
                      <a:pt x="93" y="242"/>
                    </a:lnTo>
                    <a:lnTo>
                      <a:pt x="105" y="247"/>
                    </a:lnTo>
                    <a:lnTo>
                      <a:pt x="105" y="256"/>
                    </a:lnTo>
                    <a:lnTo>
                      <a:pt x="119" y="261"/>
                    </a:lnTo>
                    <a:lnTo>
                      <a:pt x="130" y="189"/>
                    </a:lnTo>
                    <a:lnTo>
                      <a:pt x="160" y="164"/>
                    </a:lnTo>
                    <a:lnTo>
                      <a:pt x="174" y="161"/>
                    </a:lnTo>
                    <a:lnTo>
                      <a:pt x="174" y="145"/>
                    </a:lnTo>
                    <a:lnTo>
                      <a:pt x="202" y="145"/>
                    </a:lnTo>
                    <a:lnTo>
                      <a:pt x="202" y="167"/>
                    </a:lnTo>
                    <a:lnTo>
                      <a:pt x="210" y="178"/>
                    </a:lnTo>
                    <a:lnTo>
                      <a:pt x="204" y="184"/>
                    </a:lnTo>
                    <a:lnTo>
                      <a:pt x="214" y="201"/>
                    </a:lnTo>
                    <a:lnTo>
                      <a:pt x="219" y="214"/>
                    </a:lnTo>
                    <a:lnTo>
                      <a:pt x="237" y="209"/>
                    </a:lnTo>
                    <a:lnTo>
                      <a:pt x="254" y="211"/>
                    </a:lnTo>
                    <a:lnTo>
                      <a:pt x="269" y="218"/>
                    </a:lnTo>
                    <a:lnTo>
                      <a:pt x="270" y="240"/>
                    </a:lnTo>
                    <a:lnTo>
                      <a:pt x="275" y="253"/>
                    </a:lnTo>
                    <a:lnTo>
                      <a:pt x="295" y="263"/>
                    </a:lnTo>
                    <a:lnTo>
                      <a:pt x="302" y="269"/>
                    </a:lnTo>
                    <a:lnTo>
                      <a:pt x="320" y="256"/>
                    </a:lnTo>
                    <a:lnTo>
                      <a:pt x="354" y="244"/>
                    </a:lnTo>
                    <a:lnTo>
                      <a:pt x="359" y="237"/>
                    </a:lnTo>
                    <a:lnTo>
                      <a:pt x="347" y="226"/>
                    </a:lnTo>
                    <a:lnTo>
                      <a:pt x="335" y="228"/>
                    </a:lnTo>
                    <a:lnTo>
                      <a:pt x="323" y="217"/>
                    </a:lnTo>
                    <a:lnTo>
                      <a:pt x="330" y="207"/>
                    </a:lnTo>
                    <a:lnTo>
                      <a:pt x="328" y="199"/>
                    </a:lnTo>
                    <a:lnTo>
                      <a:pt x="328" y="195"/>
                    </a:lnTo>
                    <a:lnTo>
                      <a:pt x="338" y="186"/>
                    </a:lnTo>
                    <a:lnTo>
                      <a:pt x="351" y="200"/>
                    </a:lnTo>
                    <a:lnTo>
                      <a:pt x="357" y="189"/>
                    </a:lnTo>
                    <a:lnTo>
                      <a:pt x="376" y="184"/>
                    </a:lnTo>
                    <a:lnTo>
                      <a:pt x="387" y="193"/>
                    </a:lnTo>
                    <a:lnTo>
                      <a:pt x="417" y="189"/>
                    </a:lnTo>
                    <a:lnTo>
                      <a:pt x="437" y="189"/>
                    </a:lnTo>
                    <a:lnTo>
                      <a:pt x="453" y="203"/>
                    </a:lnTo>
                    <a:lnTo>
                      <a:pt x="459" y="195"/>
                    </a:lnTo>
                    <a:lnTo>
                      <a:pt x="460" y="175"/>
                    </a:lnTo>
                    <a:lnTo>
                      <a:pt x="475" y="167"/>
                    </a:lnTo>
                    <a:lnTo>
                      <a:pt x="493" y="173"/>
                    </a:lnTo>
                    <a:lnTo>
                      <a:pt x="499" y="140"/>
                    </a:lnTo>
                    <a:lnTo>
                      <a:pt x="505" y="133"/>
                    </a:lnTo>
                    <a:lnTo>
                      <a:pt x="517" y="130"/>
                    </a:lnTo>
                    <a:lnTo>
                      <a:pt x="521" y="119"/>
                    </a:lnTo>
                    <a:lnTo>
                      <a:pt x="530" y="11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" name="Freeform 193">
                <a:extLst>
                  <a:ext uri="{FF2B5EF4-FFF2-40B4-BE49-F238E27FC236}">
                    <a16:creationId xmlns:a16="http://schemas.microsoft.com/office/drawing/2014/main" id="{25640498-188F-40CE-A288-19939387C1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7" y="2157"/>
                <a:ext cx="169" cy="126"/>
              </a:xfrm>
              <a:custGeom>
                <a:avLst/>
                <a:gdLst>
                  <a:gd name="T0" fmla="*/ 144 w 169"/>
                  <a:gd name="T1" fmla="*/ 21 h 126"/>
                  <a:gd name="T2" fmla="*/ 134 w 169"/>
                  <a:gd name="T3" fmla="*/ 33 h 126"/>
                  <a:gd name="T4" fmla="*/ 144 w 169"/>
                  <a:gd name="T5" fmla="*/ 42 h 126"/>
                  <a:gd name="T6" fmla="*/ 143 w 169"/>
                  <a:gd name="T7" fmla="*/ 87 h 126"/>
                  <a:gd name="T8" fmla="*/ 130 w 169"/>
                  <a:gd name="T9" fmla="*/ 91 h 126"/>
                  <a:gd name="T10" fmla="*/ 124 w 169"/>
                  <a:gd name="T11" fmla="*/ 102 h 126"/>
                  <a:gd name="T12" fmla="*/ 97 w 169"/>
                  <a:gd name="T13" fmla="*/ 108 h 126"/>
                  <a:gd name="T14" fmla="*/ 98 w 169"/>
                  <a:gd name="T15" fmla="*/ 117 h 126"/>
                  <a:gd name="T16" fmla="*/ 91 w 169"/>
                  <a:gd name="T17" fmla="*/ 126 h 126"/>
                  <a:gd name="T18" fmla="*/ 76 w 169"/>
                  <a:gd name="T19" fmla="*/ 85 h 126"/>
                  <a:gd name="T20" fmla="*/ 57 w 169"/>
                  <a:gd name="T21" fmla="*/ 99 h 126"/>
                  <a:gd name="T22" fmla="*/ 40 w 169"/>
                  <a:gd name="T23" fmla="*/ 101 h 126"/>
                  <a:gd name="T24" fmla="*/ 0 w 169"/>
                  <a:gd name="T25" fmla="*/ 96 h 126"/>
                  <a:gd name="T26" fmla="*/ 20 w 169"/>
                  <a:gd name="T27" fmla="*/ 81 h 126"/>
                  <a:gd name="T28" fmla="*/ 58 w 169"/>
                  <a:gd name="T29" fmla="*/ 68 h 126"/>
                  <a:gd name="T30" fmla="*/ 64 w 169"/>
                  <a:gd name="T31" fmla="*/ 60 h 126"/>
                  <a:gd name="T32" fmla="*/ 50 w 169"/>
                  <a:gd name="T33" fmla="*/ 47 h 126"/>
                  <a:gd name="T34" fmla="*/ 37 w 169"/>
                  <a:gd name="T35" fmla="*/ 50 h 126"/>
                  <a:gd name="T36" fmla="*/ 23 w 169"/>
                  <a:gd name="T37" fmla="*/ 38 h 126"/>
                  <a:gd name="T38" fmla="*/ 31 w 169"/>
                  <a:gd name="T39" fmla="*/ 27 h 126"/>
                  <a:gd name="T40" fmla="*/ 29 w 169"/>
                  <a:gd name="T41" fmla="*/ 12 h 126"/>
                  <a:gd name="T42" fmla="*/ 40 w 169"/>
                  <a:gd name="T43" fmla="*/ 3 h 126"/>
                  <a:gd name="T44" fmla="*/ 55 w 169"/>
                  <a:gd name="T45" fmla="*/ 18 h 126"/>
                  <a:gd name="T46" fmla="*/ 62 w 169"/>
                  <a:gd name="T47" fmla="*/ 6 h 126"/>
                  <a:gd name="T48" fmla="*/ 83 w 169"/>
                  <a:gd name="T49" fmla="*/ 0 h 126"/>
                  <a:gd name="T50" fmla="*/ 95 w 169"/>
                  <a:gd name="T51" fmla="*/ 10 h 126"/>
                  <a:gd name="T52" fmla="*/ 129 w 169"/>
                  <a:gd name="T53" fmla="*/ 6 h 126"/>
                  <a:gd name="T54" fmla="*/ 151 w 169"/>
                  <a:gd name="T55" fmla="*/ 7 h 126"/>
                  <a:gd name="T56" fmla="*/ 169 w 169"/>
                  <a:gd name="T57" fmla="*/ 22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69" h="126">
                    <a:moveTo>
                      <a:pt x="144" y="21"/>
                    </a:moveTo>
                    <a:lnTo>
                      <a:pt x="134" y="33"/>
                    </a:lnTo>
                    <a:lnTo>
                      <a:pt x="144" y="42"/>
                    </a:lnTo>
                    <a:lnTo>
                      <a:pt x="143" y="87"/>
                    </a:lnTo>
                    <a:lnTo>
                      <a:pt x="130" y="91"/>
                    </a:lnTo>
                    <a:lnTo>
                      <a:pt x="124" y="102"/>
                    </a:lnTo>
                    <a:lnTo>
                      <a:pt x="97" y="108"/>
                    </a:lnTo>
                    <a:lnTo>
                      <a:pt x="98" y="117"/>
                    </a:lnTo>
                    <a:lnTo>
                      <a:pt x="91" y="126"/>
                    </a:lnTo>
                    <a:lnTo>
                      <a:pt x="76" y="85"/>
                    </a:lnTo>
                    <a:lnTo>
                      <a:pt x="57" y="99"/>
                    </a:lnTo>
                    <a:lnTo>
                      <a:pt x="40" y="101"/>
                    </a:lnTo>
                    <a:lnTo>
                      <a:pt x="0" y="96"/>
                    </a:lnTo>
                    <a:lnTo>
                      <a:pt x="20" y="81"/>
                    </a:lnTo>
                    <a:lnTo>
                      <a:pt x="58" y="68"/>
                    </a:lnTo>
                    <a:lnTo>
                      <a:pt x="64" y="60"/>
                    </a:lnTo>
                    <a:lnTo>
                      <a:pt x="50" y="47"/>
                    </a:lnTo>
                    <a:lnTo>
                      <a:pt x="37" y="50"/>
                    </a:lnTo>
                    <a:lnTo>
                      <a:pt x="23" y="38"/>
                    </a:lnTo>
                    <a:lnTo>
                      <a:pt x="31" y="27"/>
                    </a:lnTo>
                    <a:lnTo>
                      <a:pt x="29" y="12"/>
                    </a:lnTo>
                    <a:lnTo>
                      <a:pt x="40" y="3"/>
                    </a:lnTo>
                    <a:lnTo>
                      <a:pt x="55" y="18"/>
                    </a:lnTo>
                    <a:lnTo>
                      <a:pt x="62" y="6"/>
                    </a:lnTo>
                    <a:lnTo>
                      <a:pt x="83" y="0"/>
                    </a:lnTo>
                    <a:lnTo>
                      <a:pt x="95" y="10"/>
                    </a:lnTo>
                    <a:lnTo>
                      <a:pt x="129" y="6"/>
                    </a:lnTo>
                    <a:lnTo>
                      <a:pt x="151" y="7"/>
                    </a:lnTo>
                    <a:lnTo>
                      <a:pt x="169" y="2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7" name="Freeform 194">
                <a:extLst>
                  <a:ext uri="{FF2B5EF4-FFF2-40B4-BE49-F238E27FC236}">
                    <a16:creationId xmlns:a16="http://schemas.microsoft.com/office/drawing/2014/main" id="{9A487CAD-857F-4B6F-8EF5-0D54975B31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9" y="2151"/>
                <a:ext cx="100" cy="73"/>
              </a:xfrm>
              <a:custGeom>
                <a:avLst/>
                <a:gdLst>
                  <a:gd name="T0" fmla="*/ 0 w 90"/>
                  <a:gd name="T1" fmla="*/ 18 h 65"/>
                  <a:gd name="T2" fmla="*/ 32 w 90"/>
                  <a:gd name="T3" fmla="*/ 0 h 65"/>
                  <a:gd name="T4" fmla="*/ 50 w 90"/>
                  <a:gd name="T5" fmla="*/ 9 h 65"/>
                  <a:gd name="T6" fmla="*/ 62 w 90"/>
                  <a:gd name="T7" fmla="*/ 9 h 65"/>
                  <a:gd name="T8" fmla="*/ 74 w 90"/>
                  <a:gd name="T9" fmla="*/ 21 h 65"/>
                  <a:gd name="T10" fmla="*/ 89 w 90"/>
                  <a:gd name="T11" fmla="*/ 37 h 65"/>
                  <a:gd name="T12" fmla="*/ 80 w 90"/>
                  <a:gd name="T13" fmla="*/ 55 h 65"/>
                  <a:gd name="T14" fmla="*/ 64 w 90"/>
                  <a:gd name="T15" fmla="*/ 62 h 65"/>
                  <a:gd name="T16" fmla="*/ 45 w 90"/>
                  <a:gd name="T17" fmla="*/ 64 h 65"/>
                  <a:gd name="T18" fmla="*/ 42 w 90"/>
                  <a:gd name="T19" fmla="*/ 50 h 65"/>
                  <a:gd name="T20" fmla="*/ 35 w 90"/>
                  <a:gd name="T21" fmla="*/ 37 h 65"/>
                  <a:gd name="T22" fmla="*/ 15 w 90"/>
                  <a:gd name="T23" fmla="*/ 31 h 65"/>
                  <a:gd name="T24" fmla="*/ 0 w 90"/>
                  <a:gd name="T25" fmla="*/ 18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0" h="65">
                    <a:moveTo>
                      <a:pt x="0" y="18"/>
                    </a:moveTo>
                    <a:lnTo>
                      <a:pt x="32" y="0"/>
                    </a:lnTo>
                    <a:lnTo>
                      <a:pt x="50" y="9"/>
                    </a:lnTo>
                    <a:lnTo>
                      <a:pt x="62" y="9"/>
                    </a:lnTo>
                    <a:lnTo>
                      <a:pt x="74" y="21"/>
                    </a:lnTo>
                    <a:lnTo>
                      <a:pt x="89" y="37"/>
                    </a:lnTo>
                    <a:lnTo>
                      <a:pt x="80" y="55"/>
                    </a:lnTo>
                    <a:lnTo>
                      <a:pt x="64" y="62"/>
                    </a:lnTo>
                    <a:lnTo>
                      <a:pt x="45" y="64"/>
                    </a:lnTo>
                    <a:lnTo>
                      <a:pt x="42" y="50"/>
                    </a:lnTo>
                    <a:lnTo>
                      <a:pt x="35" y="37"/>
                    </a:lnTo>
                    <a:lnTo>
                      <a:pt x="15" y="31"/>
                    </a:lnTo>
                    <a:lnTo>
                      <a:pt x="0" y="18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8" name="Freeform 195">
                <a:extLst>
                  <a:ext uri="{FF2B5EF4-FFF2-40B4-BE49-F238E27FC236}">
                    <a16:creationId xmlns:a16="http://schemas.microsoft.com/office/drawing/2014/main" id="{D74FF16B-2C70-428F-A6C4-D70F6B3FF4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3" y="2836"/>
                <a:ext cx="81" cy="155"/>
              </a:xfrm>
              <a:custGeom>
                <a:avLst/>
                <a:gdLst>
                  <a:gd name="T0" fmla="*/ 46 w 73"/>
                  <a:gd name="T1" fmla="*/ 46 h 138"/>
                  <a:gd name="T2" fmla="*/ 25 w 73"/>
                  <a:gd name="T3" fmla="*/ 35 h 138"/>
                  <a:gd name="T4" fmla="*/ 13 w 73"/>
                  <a:gd name="T5" fmla="*/ 0 h 138"/>
                  <a:gd name="T6" fmla="*/ 0 w 73"/>
                  <a:gd name="T7" fmla="*/ 13 h 138"/>
                  <a:gd name="T8" fmla="*/ 2 w 73"/>
                  <a:gd name="T9" fmla="*/ 36 h 138"/>
                  <a:gd name="T10" fmla="*/ 8 w 73"/>
                  <a:gd name="T11" fmla="*/ 91 h 138"/>
                  <a:gd name="T12" fmla="*/ 26 w 73"/>
                  <a:gd name="T13" fmla="*/ 116 h 138"/>
                  <a:gd name="T14" fmla="*/ 41 w 73"/>
                  <a:gd name="T15" fmla="*/ 133 h 138"/>
                  <a:gd name="T16" fmla="*/ 70 w 73"/>
                  <a:gd name="T17" fmla="*/ 137 h 138"/>
                  <a:gd name="T18" fmla="*/ 72 w 73"/>
                  <a:gd name="T19" fmla="*/ 127 h 138"/>
                  <a:gd name="T20" fmla="*/ 68 w 73"/>
                  <a:gd name="T21" fmla="*/ 78 h 138"/>
                  <a:gd name="T22" fmla="*/ 46 w 73"/>
                  <a:gd name="T23" fmla="*/ 46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3" h="138">
                    <a:moveTo>
                      <a:pt x="46" y="46"/>
                    </a:moveTo>
                    <a:lnTo>
                      <a:pt x="25" y="35"/>
                    </a:lnTo>
                    <a:lnTo>
                      <a:pt x="13" y="0"/>
                    </a:lnTo>
                    <a:lnTo>
                      <a:pt x="0" y="13"/>
                    </a:lnTo>
                    <a:lnTo>
                      <a:pt x="2" y="36"/>
                    </a:lnTo>
                    <a:lnTo>
                      <a:pt x="8" y="91"/>
                    </a:lnTo>
                    <a:lnTo>
                      <a:pt x="26" y="116"/>
                    </a:lnTo>
                    <a:lnTo>
                      <a:pt x="41" y="133"/>
                    </a:lnTo>
                    <a:lnTo>
                      <a:pt x="70" y="137"/>
                    </a:lnTo>
                    <a:lnTo>
                      <a:pt x="72" y="127"/>
                    </a:lnTo>
                    <a:lnTo>
                      <a:pt x="68" y="78"/>
                    </a:lnTo>
                    <a:lnTo>
                      <a:pt x="46" y="46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9" name="Freeform 196">
                <a:extLst>
                  <a:ext uri="{FF2B5EF4-FFF2-40B4-BE49-F238E27FC236}">
                    <a16:creationId xmlns:a16="http://schemas.microsoft.com/office/drawing/2014/main" id="{12310FF3-086C-475B-9314-6FA7105538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5" y="2118"/>
                <a:ext cx="79" cy="99"/>
              </a:xfrm>
              <a:custGeom>
                <a:avLst/>
                <a:gdLst>
                  <a:gd name="T0" fmla="*/ 12 w 71"/>
                  <a:gd name="T1" fmla="*/ 8 h 89"/>
                  <a:gd name="T2" fmla="*/ 15 w 71"/>
                  <a:gd name="T3" fmla="*/ 26 h 89"/>
                  <a:gd name="T4" fmla="*/ 17 w 71"/>
                  <a:gd name="T5" fmla="*/ 42 h 89"/>
                  <a:gd name="T6" fmla="*/ 8 w 71"/>
                  <a:gd name="T7" fmla="*/ 58 h 89"/>
                  <a:gd name="T8" fmla="*/ 0 w 71"/>
                  <a:gd name="T9" fmla="*/ 73 h 89"/>
                  <a:gd name="T10" fmla="*/ 9 w 71"/>
                  <a:gd name="T11" fmla="*/ 80 h 89"/>
                  <a:gd name="T12" fmla="*/ 26 w 71"/>
                  <a:gd name="T13" fmla="*/ 74 h 89"/>
                  <a:gd name="T14" fmla="*/ 42 w 71"/>
                  <a:gd name="T15" fmla="*/ 77 h 89"/>
                  <a:gd name="T16" fmla="*/ 42 w 71"/>
                  <a:gd name="T17" fmla="*/ 78 h 89"/>
                  <a:gd name="T18" fmla="*/ 42 w 71"/>
                  <a:gd name="T19" fmla="*/ 79 h 89"/>
                  <a:gd name="T20" fmla="*/ 43 w 71"/>
                  <a:gd name="T21" fmla="*/ 80 h 89"/>
                  <a:gd name="T22" fmla="*/ 44 w 71"/>
                  <a:gd name="T23" fmla="*/ 80 h 89"/>
                  <a:gd name="T24" fmla="*/ 44 w 71"/>
                  <a:gd name="T25" fmla="*/ 83 h 89"/>
                  <a:gd name="T26" fmla="*/ 45 w 71"/>
                  <a:gd name="T27" fmla="*/ 85 h 89"/>
                  <a:gd name="T28" fmla="*/ 46 w 71"/>
                  <a:gd name="T29" fmla="*/ 85 h 89"/>
                  <a:gd name="T30" fmla="*/ 48 w 71"/>
                  <a:gd name="T31" fmla="*/ 87 h 89"/>
                  <a:gd name="T32" fmla="*/ 48 w 71"/>
                  <a:gd name="T33" fmla="*/ 88 h 89"/>
                  <a:gd name="T34" fmla="*/ 49 w 71"/>
                  <a:gd name="T35" fmla="*/ 88 h 89"/>
                  <a:gd name="T36" fmla="*/ 50 w 71"/>
                  <a:gd name="T37" fmla="*/ 87 h 89"/>
                  <a:gd name="T38" fmla="*/ 50 w 71"/>
                  <a:gd name="T39" fmla="*/ 86 h 89"/>
                  <a:gd name="T40" fmla="*/ 50 w 71"/>
                  <a:gd name="T41" fmla="*/ 85 h 89"/>
                  <a:gd name="T42" fmla="*/ 51 w 71"/>
                  <a:gd name="T43" fmla="*/ 83 h 89"/>
                  <a:gd name="T44" fmla="*/ 51 w 71"/>
                  <a:gd name="T45" fmla="*/ 80 h 89"/>
                  <a:gd name="T46" fmla="*/ 53 w 71"/>
                  <a:gd name="T47" fmla="*/ 78 h 89"/>
                  <a:gd name="T48" fmla="*/ 55 w 71"/>
                  <a:gd name="T49" fmla="*/ 76 h 89"/>
                  <a:gd name="T50" fmla="*/ 55 w 71"/>
                  <a:gd name="T51" fmla="*/ 74 h 89"/>
                  <a:gd name="T52" fmla="*/ 57 w 71"/>
                  <a:gd name="T53" fmla="*/ 71 h 89"/>
                  <a:gd name="T54" fmla="*/ 58 w 71"/>
                  <a:gd name="T55" fmla="*/ 69 h 89"/>
                  <a:gd name="T56" fmla="*/ 59 w 71"/>
                  <a:gd name="T57" fmla="*/ 68 h 89"/>
                  <a:gd name="T58" fmla="*/ 59 w 71"/>
                  <a:gd name="T59" fmla="*/ 67 h 89"/>
                  <a:gd name="T60" fmla="*/ 60 w 71"/>
                  <a:gd name="T61" fmla="*/ 66 h 89"/>
                  <a:gd name="T62" fmla="*/ 70 w 71"/>
                  <a:gd name="T63" fmla="*/ 61 h 89"/>
                  <a:gd name="T64" fmla="*/ 67 w 71"/>
                  <a:gd name="T65" fmla="*/ 42 h 89"/>
                  <a:gd name="T66" fmla="*/ 52 w 71"/>
                  <a:gd name="T67" fmla="*/ 37 h 89"/>
                  <a:gd name="T68" fmla="*/ 31 w 71"/>
                  <a:gd name="T69" fmla="*/ 30 h 89"/>
                  <a:gd name="T70" fmla="*/ 25 w 71"/>
                  <a:gd name="T71" fmla="*/ 14 h 89"/>
                  <a:gd name="T72" fmla="*/ 18 w 71"/>
                  <a:gd name="T73" fmla="*/ 0 h 89"/>
                  <a:gd name="T74" fmla="*/ 12 w 71"/>
                  <a:gd name="T75" fmla="*/ 8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" h="89">
                    <a:moveTo>
                      <a:pt x="12" y="8"/>
                    </a:moveTo>
                    <a:lnTo>
                      <a:pt x="15" y="26"/>
                    </a:lnTo>
                    <a:lnTo>
                      <a:pt x="17" y="42"/>
                    </a:lnTo>
                    <a:lnTo>
                      <a:pt x="8" y="58"/>
                    </a:lnTo>
                    <a:lnTo>
                      <a:pt x="0" y="73"/>
                    </a:lnTo>
                    <a:lnTo>
                      <a:pt x="9" y="80"/>
                    </a:lnTo>
                    <a:lnTo>
                      <a:pt x="26" y="74"/>
                    </a:lnTo>
                    <a:lnTo>
                      <a:pt x="42" y="77"/>
                    </a:lnTo>
                    <a:lnTo>
                      <a:pt x="42" y="78"/>
                    </a:lnTo>
                    <a:lnTo>
                      <a:pt x="42" y="79"/>
                    </a:lnTo>
                    <a:lnTo>
                      <a:pt x="43" y="80"/>
                    </a:lnTo>
                    <a:lnTo>
                      <a:pt x="44" y="80"/>
                    </a:lnTo>
                    <a:lnTo>
                      <a:pt x="44" y="83"/>
                    </a:lnTo>
                    <a:lnTo>
                      <a:pt x="45" y="85"/>
                    </a:lnTo>
                    <a:lnTo>
                      <a:pt x="46" y="85"/>
                    </a:lnTo>
                    <a:lnTo>
                      <a:pt x="48" y="87"/>
                    </a:lnTo>
                    <a:lnTo>
                      <a:pt x="48" y="88"/>
                    </a:lnTo>
                    <a:lnTo>
                      <a:pt x="49" y="88"/>
                    </a:lnTo>
                    <a:lnTo>
                      <a:pt x="50" y="87"/>
                    </a:lnTo>
                    <a:lnTo>
                      <a:pt x="50" y="86"/>
                    </a:lnTo>
                    <a:lnTo>
                      <a:pt x="50" y="85"/>
                    </a:lnTo>
                    <a:lnTo>
                      <a:pt x="51" y="83"/>
                    </a:lnTo>
                    <a:lnTo>
                      <a:pt x="51" y="80"/>
                    </a:lnTo>
                    <a:lnTo>
                      <a:pt x="53" y="78"/>
                    </a:lnTo>
                    <a:lnTo>
                      <a:pt x="55" y="76"/>
                    </a:lnTo>
                    <a:lnTo>
                      <a:pt x="55" y="74"/>
                    </a:lnTo>
                    <a:lnTo>
                      <a:pt x="57" y="71"/>
                    </a:lnTo>
                    <a:lnTo>
                      <a:pt x="58" y="69"/>
                    </a:lnTo>
                    <a:lnTo>
                      <a:pt x="59" y="68"/>
                    </a:lnTo>
                    <a:lnTo>
                      <a:pt x="59" y="67"/>
                    </a:lnTo>
                    <a:lnTo>
                      <a:pt x="60" y="66"/>
                    </a:lnTo>
                    <a:lnTo>
                      <a:pt x="70" y="61"/>
                    </a:lnTo>
                    <a:lnTo>
                      <a:pt x="67" y="42"/>
                    </a:lnTo>
                    <a:lnTo>
                      <a:pt x="52" y="37"/>
                    </a:lnTo>
                    <a:lnTo>
                      <a:pt x="31" y="30"/>
                    </a:lnTo>
                    <a:lnTo>
                      <a:pt x="25" y="14"/>
                    </a:lnTo>
                    <a:lnTo>
                      <a:pt x="18" y="0"/>
                    </a:lnTo>
                    <a:lnTo>
                      <a:pt x="12" y="8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0" name="Freeform 197">
                <a:extLst>
                  <a:ext uri="{FF2B5EF4-FFF2-40B4-BE49-F238E27FC236}">
                    <a16:creationId xmlns:a16="http://schemas.microsoft.com/office/drawing/2014/main" id="{DDF6552F-EC5B-42DB-AEC8-F147734EF3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4" y="2224"/>
                <a:ext cx="153" cy="161"/>
              </a:xfrm>
              <a:custGeom>
                <a:avLst/>
                <a:gdLst>
                  <a:gd name="T0" fmla="*/ 99 w 136"/>
                  <a:gd name="T1" fmla="*/ 0 h 143"/>
                  <a:gd name="T2" fmla="*/ 114 w 136"/>
                  <a:gd name="T3" fmla="*/ 0 h 143"/>
                  <a:gd name="T4" fmla="*/ 118 w 136"/>
                  <a:gd name="T5" fmla="*/ 25 h 143"/>
                  <a:gd name="T6" fmla="*/ 123 w 136"/>
                  <a:gd name="T7" fmla="*/ 34 h 143"/>
                  <a:gd name="T8" fmla="*/ 135 w 136"/>
                  <a:gd name="T9" fmla="*/ 45 h 143"/>
                  <a:gd name="T10" fmla="*/ 117 w 136"/>
                  <a:gd name="T11" fmla="*/ 60 h 143"/>
                  <a:gd name="T12" fmla="*/ 125 w 136"/>
                  <a:gd name="T13" fmla="*/ 87 h 143"/>
                  <a:gd name="T14" fmla="*/ 121 w 136"/>
                  <a:gd name="T15" fmla="*/ 103 h 143"/>
                  <a:gd name="T16" fmla="*/ 114 w 136"/>
                  <a:gd name="T17" fmla="*/ 112 h 143"/>
                  <a:gd name="T18" fmla="*/ 106 w 136"/>
                  <a:gd name="T19" fmla="*/ 114 h 143"/>
                  <a:gd name="T20" fmla="*/ 101 w 136"/>
                  <a:gd name="T21" fmla="*/ 127 h 143"/>
                  <a:gd name="T22" fmla="*/ 91 w 136"/>
                  <a:gd name="T23" fmla="*/ 116 h 143"/>
                  <a:gd name="T24" fmla="*/ 86 w 136"/>
                  <a:gd name="T25" fmla="*/ 122 h 143"/>
                  <a:gd name="T26" fmla="*/ 67 w 136"/>
                  <a:gd name="T27" fmla="*/ 123 h 143"/>
                  <a:gd name="T28" fmla="*/ 63 w 136"/>
                  <a:gd name="T29" fmla="*/ 114 h 143"/>
                  <a:gd name="T30" fmla="*/ 55 w 136"/>
                  <a:gd name="T31" fmla="*/ 116 h 143"/>
                  <a:gd name="T32" fmla="*/ 55 w 136"/>
                  <a:gd name="T33" fmla="*/ 139 h 143"/>
                  <a:gd name="T34" fmla="*/ 46 w 136"/>
                  <a:gd name="T35" fmla="*/ 133 h 143"/>
                  <a:gd name="T36" fmla="*/ 40 w 136"/>
                  <a:gd name="T37" fmla="*/ 124 h 143"/>
                  <a:gd name="T38" fmla="*/ 36 w 136"/>
                  <a:gd name="T39" fmla="*/ 139 h 143"/>
                  <a:gd name="T40" fmla="*/ 26 w 136"/>
                  <a:gd name="T41" fmla="*/ 142 h 143"/>
                  <a:gd name="T42" fmla="*/ 19 w 136"/>
                  <a:gd name="T43" fmla="*/ 131 h 143"/>
                  <a:gd name="T44" fmla="*/ 7 w 136"/>
                  <a:gd name="T45" fmla="*/ 129 h 143"/>
                  <a:gd name="T46" fmla="*/ 0 w 136"/>
                  <a:gd name="T47" fmla="*/ 123 h 143"/>
                  <a:gd name="T48" fmla="*/ 11 w 136"/>
                  <a:gd name="T49" fmla="*/ 112 h 143"/>
                  <a:gd name="T50" fmla="*/ 23 w 136"/>
                  <a:gd name="T51" fmla="*/ 105 h 143"/>
                  <a:gd name="T52" fmla="*/ 32 w 136"/>
                  <a:gd name="T53" fmla="*/ 97 h 143"/>
                  <a:gd name="T54" fmla="*/ 54 w 136"/>
                  <a:gd name="T55" fmla="*/ 99 h 143"/>
                  <a:gd name="T56" fmla="*/ 55 w 136"/>
                  <a:gd name="T57" fmla="*/ 84 h 143"/>
                  <a:gd name="T58" fmla="*/ 60 w 136"/>
                  <a:gd name="T59" fmla="*/ 72 h 143"/>
                  <a:gd name="T60" fmla="*/ 68 w 136"/>
                  <a:gd name="T61" fmla="*/ 76 h 143"/>
                  <a:gd name="T62" fmla="*/ 88 w 136"/>
                  <a:gd name="T63" fmla="*/ 73 h 143"/>
                  <a:gd name="T64" fmla="*/ 91 w 136"/>
                  <a:gd name="T65" fmla="*/ 62 h 143"/>
                  <a:gd name="T66" fmla="*/ 91 w 136"/>
                  <a:gd name="T67" fmla="*/ 44 h 143"/>
                  <a:gd name="T68" fmla="*/ 97 w 136"/>
                  <a:gd name="T69" fmla="*/ 34 h 143"/>
                  <a:gd name="T70" fmla="*/ 92 w 136"/>
                  <a:gd name="T71" fmla="*/ 10 h 143"/>
                  <a:gd name="T72" fmla="*/ 99 w 136"/>
                  <a:gd name="T73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6" h="143">
                    <a:moveTo>
                      <a:pt x="99" y="0"/>
                    </a:moveTo>
                    <a:lnTo>
                      <a:pt x="114" y="0"/>
                    </a:lnTo>
                    <a:lnTo>
                      <a:pt x="118" y="25"/>
                    </a:lnTo>
                    <a:lnTo>
                      <a:pt x="123" y="34"/>
                    </a:lnTo>
                    <a:lnTo>
                      <a:pt x="135" y="45"/>
                    </a:lnTo>
                    <a:lnTo>
                      <a:pt x="117" y="60"/>
                    </a:lnTo>
                    <a:lnTo>
                      <a:pt x="125" y="87"/>
                    </a:lnTo>
                    <a:lnTo>
                      <a:pt x="121" y="103"/>
                    </a:lnTo>
                    <a:lnTo>
                      <a:pt x="114" y="112"/>
                    </a:lnTo>
                    <a:lnTo>
                      <a:pt x="106" y="114"/>
                    </a:lnTo>
                    <a:lnTo>
                      <a:pt x="101" y="127"/>
                    </a:lnTo>
                    <a:lnTo>
                      <a:pt x="91" y="116"/>
                    </a:lnTo>
                    <a:lnTo>
                      <a:pt x="86" y="122"/>
                    </a:lnTo>
                    <a:lnTo>
                      <a:pt x="67" y="123"/>
                    </a:lnTo>
                    <a:lnTo>
                      <a:pt x="63" y="114"/>
                    </a:lnTo>
                    <a:lnTo>
                      <a:pt x="55" y="116"/>
                    </a:lnTo>
                    <a:lnTo>
                      <a:pt x="55" y="139"/>
                    </a:lnTo>
                    <a:lnTo>
                      <a:pt x="46" y="133"/>
                    </a:lnTo>
                    <a:lnTo>
                      <a:pt x="40" y="124"/>
                    </a:lnTo>
                    <a:lnTo>
                      <a:pt x="36" y="139"/>
                    </a:lnTo>
                    <a:lnTo>
                      <a:pt x="26" y="142"/>
                    </a:lnTo>
                    <a:lnTo>
                      <a:pt x="19" y="131"/>
                    </a:lnTo>
                    <a:lnTo>
                      <a:pt x="7" y="129"/>
                    </a:lnTo>
                    <a:lnTo>
                      <a:pt x="0" y="123"/>
                    </a:lnTo>
                    <a:lnTo>
                      <a:pt x="11" y="112"/>
                    </a:lnTo>
                    <a:lnTo>
                      <a:pt x="23" y="105"/>
                    </a:lnTo>
                    <a:lnTo>
                      <a:pt x="32" y="97"/>
                    </a:lnTo>
                    <a:lnTo>
                      <a:pt x="54" y="99"/>
                    </a:lnTo>
                    <a:lnTo>
                      <a:pt x="55" y="84"/>
                    </a:lnTo>
                    <a:lnTo>
                      <a:pt x="60" y="72"/>
                    </a:lnTo>
                    <a:lnTo>
                      <a:pt x="68" y="76"/>
                    </a:lnTo>
                    <a:lnTo>
                      <a:pt x="88" y="73"/>
                    </a:lnTo>
                    <a:lnTo>
                      <a:pt x="91" y="62"/>
                    </a:lnTo>
                    <a:lnTo>
                      <a:pt x="91" y="44"/>
                    </a:lnTo>
                    <a:lnTo>
                      <a:pt x="97" y="34"/>
                    </a:lnTo>
                    <a:lnTo>
                      <a:pt x="92" y="10"/>
                    </a:lnTo>
                    <a:lnTo>
                      <a:pt x="99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1" name="Freeform 198">
                <a:extLst>
                  <a:ext uri="{FF2B5EF4-FFF2-40B4-BE49-F238E27FC236}">
                    <a16:creationId xmlns:a16="http://schemas.microsoft.com/office/drawing/2014/main" id="{12FE8D06-0098-4862-B0C8-262ADC6166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7" y="2375"/>
                <a:ext cx="37" cy="62"/>
              </a:xfrm>
              <a:custGeom>
                <a:avLst/>
                <a:gdLst>
                  <a:gd name="T0" fmla="*/ 14 w 34"/>
                  <a:gd name="T1" fmla="*/ 5 h 54"/>
                  <a:gd name="T2" fmla="*/ 8 w 34"/>
                  <a:gd name="T3" fmla="*/ 15 h 54"/>
                  <a:gd name="T4" fmla="*/ 0 w 34"/>
                  <a:gd name="T5" fmla="*/ 21 h 54"/>
                  <a:gd name="T6" fmla="*/ 7 w 34"/>
                  <a:gd name="T7" fmla="*/ 36 h 54"/>
                  <a:gd name="T8" fmla="*/ 14 w 34"/>
                  <a:gd name="T9" fmla="*/ 28 h 54"/>
                  <a:gd name="T10" fmla="*/ 21 w 34"/>
                  <a:gd name="T11" fmla="*/ 31 h 54"/>
                  <a:gd name="T12" fmla="*/ 19 w 34"/>
                  <a:gd name="T13" fmla="*/ 40 h 54"/>
                  <a:gd name="T14" fmla="*/ 25 w 34"/>
                  <a:gd name="T15" fmla="*/ 53 h 54"/>
                  <a:gd name="T16" fmla="*/ 33 w 34"/>
                  <a:gd name="T17" fmla="*/ 47 h 54"/>
                  <a:gd name="T18" fmla="*/ 33 w 34"/>
                  <a:gd name="T19" fmla="*/ 32 h 54"/>
                  <a:gd name="T20" fmla="*/ 31 w 34"/>
                  <a:gd name="T21" fmla="*/ 8 h 54"/>
                  <a:gd name="T22" fmla="*/ 25 w 34"/>
                  <a:gd name="T23" fmla="*/ 0 h 54"/>
                  <a:gd name="T24" fmla="*/ 14 w 34"/>
                  <a:gd name="T25" fmla="*/ 5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54">
                    <a:moveTo>
                      <a:pt x="14" y="5"/>
                    </a:moveTo>
                    <a:lnTo>
                      <a:pt x="8" y="15"/>
                    </a:lnTo>
                    <a:lnTo>
                      <a:pt x="0" y="21"/>
                    </a:lnTo>
                    <a:lnTo>
                      <a:pt x="7" y="36"/>
                    </a:lnTo>
                    <a:lnTo>
                      <a:pt x="14" y="28"/>
                    </a:lnTo>
                    <a:lnTo>
                      <a:pt x="21" y="31"/>
                    </a:lnTo>
                    <a:lnTo>
                      <a:pt x="19" y="40"/>
                    </a:lnTo>
                    <a:lnTo>
                      <a:pt x="25" y="53"/>
                    </a:lnTo>
                    <a:lnTo>
                      <a:pt x="33" y="47"/>
                    </a:lnTo>
                    <a:lnTo>
                      <a:pt x="33" y="32"/>
                    </a:lnTo>
                    <a:lnTo>
                      <a:pt x="31" y="8"/>
                    </a:lnTo>
                    <a:lnTo>
                      <a:pt x="25" y="0"/>
                    </a:lnTo>
                    <a:lnTo>
                      <a:pt x="14" y="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2" name="Freeform 199">
                <a:extLst>
                  <a:ext uri="{FF2B5EF4-FFF2-40B4-BE49-F238E27FC236}">
                    <a16:creationId xmlns:a16="http://schemas.microsoft.com/office/drawing/2014/main" id="{E4731C87-45DF-47E9-8A08-D9B11A1149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1" y="1966"/>
                <a:ext cx="915" cy="676"/>
              </a:xfrm>
              <a:custGeom>
                <a:avLst/>
                <a:gdLst>
                  <a:gd name="T0" fmla="*/ 622 w 817"/>
                  <a:gd name="T1" fmla="*/ 289 h 602"/>
                  <a:gd name="T2" fmla="*/ 663 w 817"/>
                  <a:gd name="T3" fmla="*/ 292 h 602"/>
                  <a:gd name="T4" fmla="*/ 670 w 817"/>
                  <a:gd name="T5" fmla="*/ 320 h 602"/>
                  <a:gd name="T6" fmla="*/ 674 w 817"/>
                  <a:gd name="T7" fmla="*/ 378 h 602"/>
                  <a:gd name="T8" fmla="*/ 696 w 817"/>
                  <a:gd name="T9" fmla="*/ 431 h 602"/>
                  <a:gd name="T10" fmla="*/ 691 w 817"/>
                  <a:gd name="T11" fmla="*/ 487 h 602"/>
                  <a:gd name="T12" fmla="*/ 664 w 817"/>
                  <a:gd name="T13" fmla="*/ 529 h 602"/>
                  <a:gd name="T14" fmla="*/ 641 w 817"/>
                  <a:gd name="T15" fmla="*/ 548 h 602"/>
                  <a:gd name="T16" fmla="*/ 595 w 817"/>
                  <a:gd name="T17" fmla="*/ 567 h 602"/>
                  <a:gd name="T18" fmla="*/ 540 w 817"/>
                  <a:gd name="T19" fmla="*/ 601 h 602"/>
                  <a:gd name="T20" fmla="*/ 519 w 817"/>
                  <a:gd name="T21" fmla="*/ 593 h 602"/>
                  <a:gd name="T22" fmla="*/ 460 w 817"/>
                  <a:gd name="T23" fmla="*/ 555 h 602"/>
                  <a:gd name="T24" fmla="*/ 428 w 817"/>
                  <a:gd name="T25" fmla="*/ 587 h 602"/>
                  <a:gd name="T26" fmla="*/ 391 w 817"/>
                  <a:gd name="T27" fmla="*/ 577 h 602"/>
                  <a:gd name="T28" fmla="*/ 364 w 817"/>
                  <a:gd name="T29" fmla="*/ 537 h 602"/>
                  <a:gd name="T30" fmla="*/ 380 w 817"/>
                  <a:gd name="T31" fmla="*/ 504 h 602"/>
                  <a:gd name="T32" fmla="*/ 354 w 817"/>
                  <a:gd name="T33" fmla="*/ 481 h 602"/>
                  <a:gd name="T34" fmla="*/ 306 w 817"/>
                  <a:gd name="T35" fmla="*/ 458 h 602"/>
                  <a:gd name="T36" fmla="*/ 257 w 817"/>
                  <a:gd name="T37" fmla="*/ 479 h 602"/>
                  <a:gd name="T38" fmla="*/ 219 w 817"/>
                  <a:gd name="T39" fmla="*/ 480 h 602"/>
                  <a:gd name="T40" fmla="*/ 163 w 817"/>
                  <a:gd name="T41" fmla="*/ 464 h 602"/>
                  <a:gd name="T42" fmla="*/ 142 w 817"/>
                  <a:gd name="T43" fmla="*/ 450 h 602"/>
                  <a:gd name="T44" fmla="*/ 100 w 817"/>
                  <a:gd name="T45" fmla="*/ 426 h 602"/>
                  <a:gd name="T46" fmla="*/ 68 w 817"/>
                  <a:gd name="T47" fmla="*/ 387 h 602"/>
                  <a:gd name="T48" fmla="*/ 17 w 817"/>
                  <a:gd name="T49" fmla="*/ 387 h 602"/>
                  <a:gd name="T50" fmla="*/ 14 w 817"/>
                  <a:gd name="T51" fmla="*/ 344 h 602"/>
                  <a:gd name="T52" fmla="*/ 15 w 817"/>
                  <a:gd name="T53" fmla="*/ 310 h 602"/>
                  <a:gd name="T54" fmla="*/ 14 w 817"/>
                  <a:gd name="T55" fmla="*/ 269 h 602"/>
                  <a:gd name="T56" fmla="*/ 40 w 817"/>
                  <a:gd name="T57" fmla="*/ 266 h 602"/>
                  <a:gd name="T58" fmla="*/ 81 w 817"/>
                  <a:gd name="T59" fmla="*/ 248 h 602"/>
                  <a:gd name="T60" fmla="*/ 76 w 817"/>
                  <a:gd name="T61" fmla="*/ 192 h 602"/>
                  <a:gd name="T62" fmla="*/ 111 w 817"/>
                  <a:gd name="T63" fmla="*/ 161 h 602"/>
                  <a:gd name="T64" fmla="*/ 150 w 817"/>
                  <a:gd name="T65" fmla="*/ 126 h 602"/>
                  <a:gd name="T66" fmla="*/ 172 w 817"/>
                  <a:gd name="T67" fmla="*/ 105 h 602"/>
                  <a:gd name="T68" fmla="*/ 210 w 817"/>
                  <a:gd name="T69" fmla="*/ 120 h 602"/>
                  <a:gd name="T70" fmla="*/ 258 w 817"/>
                  <a:gd name="T71" fmla="*/ 167 h 602"/>
                  <a:gd name="T72" fmla="*/ 298 w 817"/>
                  <a:gd name="T73" fmla="*/ 198 h 602"/>
                  <a:gd name="T74" fmla="*/ 406 w 817"/>
                  <a:gd name="T75" fmla="*/ 218 h 602"/>
                  <a:gd name="T76" fmla="*/ 460 w 817"/>
                  <a:gd name="T77" fmla="*/ 214 h 602"/>
                  <a:gd name="T78" fmla="*/ 513 w 817"/>
                  <a:gd name="T79" fmla="*/ 182 h 602"/>
                  <a:gd name="T80" fmla="*/ 546 w 817"/>
                  <a:gd name="T81" fmla="*/ 158 h 602"/>
                  <a:gd name="T82" fmla="*/ 604 w 817"/>
                  <a:gd name="T83" fmla="*/ 124 h 602"/>
                  <a:gd name="T84" fmla="*/ 558 w 817"/>
                  <a:gd name="T85" fmla="*/ 115 h 602"/>
                  <a:gd name="T86" fmla="*/ 557 w 817"/>
                  <a:gd name="T87" fmla="*/ 65 h 602"/>
                  <a:gd name="T88" fmla="*/ 591 w 817"/>
                  <a:gd name="T89" fmla="*/ 49 h 602"/>
                  <a:gd name="T90" fmla="*/ 600 w 817"/>
                  <a:gd name="T91" fmla="*/ 0 h 602"/>
                  <a:gd name="T92" fmla="*/ 689 w 817"/>
                  <a:gd name="T93" fmla="*/ 29 h 602"/>
                  <a:gd name="T94" fmla="*/ 714 w 817"/>
                  <a:gd name="T95" fmla="*/ 73 h 602"/>
                  <a:gd name="T96" fmla="*/ 763 w 817"/>
                  <a:gd name="T97" fmla="*/ 97 h 602"/>
                  <a:gd name="T98" fmla="*/ 808 w 817"/>
                  <a:gd name="T99" fmla="*/ 103 h 602"/>
                  <a:gd name="T100" fmla="*/ 806 w 817"/>
                  <a:gd name="T101" fmla="*/ 130 h 602"/>
                  <a:gd name="T102" fmla="*/ 783 w 817"/>
                  <a:gd name="T103" fmla="*/ 178 h 602"/>
                  <a:gd name="T104" fmla="*/ 797 w 817"/>
                  <a:gd name="T105" fmla="*/ 198 h 602"/>
                  <a:gd name="T106" fmla="*/ 755 w 817"/>
                  <a:gd name="T107" fmla="*/ 230 h 602"/>
                  <a:gd name="T108" fmla="*/ 721 w 817"/>
                  <a:gd name="T109" fmla="*/ 248 h 602"/>
                  <a:gd name="T110" fmla="*/ 669 w 817"/>
                  <a:gd name="T111" fmla="*/ 275 h 602"/>
                  <a:gd name="T112" fmla="*/ 657 w 817"/>
                  <a:gd name="T113" fmla="*/ 241 h 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817" h="602">
                    <a:moveTo>
                      <a:pt x="641" y="259"/>
                    </a:moveTo>
                    <a:lnTo>
                      <a:pt x="621" y="274"/>
                    </a:lnTo>
                    <a:lnTo>
                      <a:pt x="622" y="289"/>
                    </a:lnTo>
                    <a:lnTo>
                      <a:pt x="637" y="302"/>
                    </a:lnTo>
                    <a:lnTo>
                      <a:pt x="652" y="303"/>
                    </a:lnTo>
                    <a:lnTo>
                      <a:pt x="663" y="292"/>
                    </a:lnTo>
                    <a:lnTo>
                      <a:pt x="685" y="294"/>
                    </a:lnTo>
                    <a:lnTo>
                      <a:pt x="689" y="314"/>
                    </a:lnTo>
                    <a:lnTo>
                      <a:pt x="670" y="320"/>
                    </a:lnTo>
                    <a:lnTo>
                      <a:pt x="655" y="334"/>
                    </a:lnTo>
                    <a:lnTo>
                      <a:pt x="661" y="353"/>
                    </a:lnTo>
                    <a:lnTo>
                      <a:pt x="674" y="378"/>
                    </a:lnTo>
                    <a:lnTo>
                      <a:pt x="692" y="397"/>
                    </a:lnTo>
                    <a:lnTo>
                      <a:pt x="692" y="413"/>
                    </a:lnTo>
                    <a:lnTo>
                      <a:pt x="696" y="431"/>
                    </a:lnTo>
                    <a:lnTo>
                      <a:pt x="703" y="471"/>
                    </a:lnTo>
                    <a:lnTo>
                      <a:pt x="693" y="474"/>
                    </a:lnTo>
                    <a:lnTo>
                      <a:pt x="691" y="487"/>
                    </a:lnTo>
                    <a:lnTo>
                      <a:pt x="677" y="500"/>
                    </a:lnTo>
                    <a:lnTo>
                      <a:pt x="678" y="519"/>
                    </a:lnTo>
                    <a:lnTo>
                      <a:pt x="664" y="529"/>
                    </a:lnTo>
                    <a:lnTo>
                      <a:pt x="655" y="530"/>
                    </a:lnTo>
                    <a:lnTo>
                      <a:pt x="652" y="545"/>
                    </a:lnTo>
                    <a:lnTo>
                      <a:pt x="641" y="548"/>
                    </a:lnTo>
                    <a:lnTo>
                      <a:pt x="638" y="563"/>
                    </a:lnTo>
                    <a:lnTo>
                      <a:pt x="613" y="570"/>
                    </a:lnTo>
                    <a:lnTo>
                      <a:pt x="595" y="567"/>
                    </a:lnTo>
                    <a:lnTo>
                      <a:pt x="572" y="575"/>
                    </a:lnTo>
                    <a:lnTo>
                      <a:pt x="549" y="593"/>
                    </a:lnTo>
                    <a:lnTo>
                      <a:pt x="540" y="601"/>
                    </a:lnTo>
                    <a:lnTo>
                      <a:pt x="534" y="581"/>
                    </a:lnTo>
                    <a:lnTo>
                      <a:pt x="525" y="576"/>
                    </a:lnTo>
                    <a:lnTo>
                      <a:pt x="519" y="593"/>
                    </a:lnTo>
                    <a:lnTo>
                      <a:pt x="497" y="563"/>
                    </a:lnTo>
                    <a:lnTo>
                      <a:pt x="475" y="555"/>
                    </a:lnTo>
                    <a:lnTo>
                      <a:pt x="460" y="555"/>
                    </a:lnTo>
                    <a:lnTo>
                      <a:pt x="437" y="567"/>
                    </a:lnTo>
                    <a:lnTo>
                      <a:pt x="426" y="573"/>
                    </a:lnTo>
                    <a:lnTo>
                      <a:pt x="428" y="587"/>
                    </a:lnTo>
                    <a:lnTo>
                      <a:pt x="408" y="590"/>
                    </a:lnTo>
                    <a:lnTo>
                      <a:pt x="405" y="581"/>
                    </a:lnTo>
                    <a:lnTo>
                      <a:pt x="391" y="577"/>
                    </a:lnTo>
                    <a:lnTo>
                      <a:pt x="387" y="554"/>
                    </a:lnTo>
                    <a:lnTo>
                      <a:pt x="380" y="539"/>
                    </a:lnTo>
                    <a:lnTo>
                      <a:pt x="364" y="537"/>
                    </a:lnTo>
                    <a:lnTo>
                      <a:pt x="365" y="524"/>
                    </a:lnTo>
                    <a:lnTo>
                      <a:pt x="375" y="516"/>
                    </a:lnTo>
                    <a:lnTo>
                      <a:pt x="380" y="504"/>
                    </a:lnTo>
                    <a:lnTo>
                      <a:pt x="375" y="487"/>
                    </a:lnTo>
                    <a:lnTo>
                      <a:pt x="371" y="479"/>
                    </a:lnTo>
                    <a:lnTo>
                      <a:pt x="354" y="481"/>
                    </a:lnTo>
                    <a:lnTo>
                      <a:pt x="345" y="467"/>
                    </a:lnTo>
                    <a:lnTo>
                      <a:pt x="329" y="458"/>
                    </a:lnTo>
                    <a:lnTo>
                      <a:pt x="306" y="458"/>
                    </a:lnTo>
                    <a:lnTo>
                      <a:pt x="288" y="468"/>
                    </a:lnTo>
                    <a:lnTo>
                      <a:pt x="280" y="479"/>
                    </a:lnTo>
                    <a:lnTo>
                      <a:pt x="257" y="479"/>
                    </a:lnTo>
                    <a:lnTo>
                      <a:pt x="241" y="471"/>
                    </a:lnTo>
                    <a:lnTo>
                      <a:pt x="233" y="486"/>
                    </a:lnTo>
                    <a:lnTo>
                      <a:pt x="219" y="480"/>
                    </a:lnTo>
                    <a:lnTo>
                      <a:pt x="188" y="478"/>
                    </a:lnTo>
                    <a:lnTo>
                      <a:pt x="174" y="470"/>
                    </a:lnTo>
                    <a:lnTo>
                      <a:pt x="163" y="464"/>
                    </a:lnTo>
                    <a:lnTo>
                      <a:pt x="161" y="448"/>
                    </a:lnTo>
                    <a:lnTo>
                      <a:pt x="156" y="458"/>
                    </a:lnTo>
                    <a:lnTo>
                      <a:pt x="142" y="450"/>
                    </a:lnTo>
                    <a:lnTo>
                      <a:pt x="129" y="438"/>
                    </a:lnTo>
                    <a:lnTo>
                      <a:pt x="113" y="438"/>
                    </a:lnTo>
                    <a:lnTo>
                      <a:pt x="100" y="426"/>
                    </a:lnTo>
                    <a:lnTo>
                      <a:pt x="79" y="421"/>
                    </a:lnTo>
                    <a:lnTo>
                      <a:pt x="79" y="395"/>
                    </a:lnTo>
                    <a:lnTo>
                      <a:pt x="68" y="387"/>
                    </a:lnTo>
                    <a:lnTo>
                      <a:pt x="51" y="385"/>
                    </a:lnTo>
                    <a:lnTo>
                      <a:pt x="31" y="398"/>
                    </a:lnTo>
                    <a:lnTo>
                      <a:pt x="17" y="387"/>
                    </a:lnTo>
                    <a:lnTo>
                      <a:pt x="19" y="368"/>
                    </a:lnTo>
                    <a:lnTo>
                      <a:pt x="11" y="358"/>
                    </a:lnTo>
                    <a:lnTo>
                      <a:pt x="14" y="344"/>
                    </a:lnTo>
                    <a:lnTo>
                      <a:pt x="17" y="321"/>
                    </a:lnTo>
                    <a:lnTo>
                      <a:pt x="17" y="308"/>
                    </a:lnTo>
                    <a:lnTo>
                      <a:pt x="15" y="310"/>
                    </a:lnTo>
                    <a:lnTo>
                      <a:pt x="0" y="299"/>
                    </a:lnTo>
                    <a:lnTo>
                      <a:pt x="2" y="277"/>
                    </a:lnTo>
                    <a:lnTo>
                      <a:pt x="14" y="269"/>
                    </a:lnTo>
                    <a:lnTo>
                      <a:pt x="35" y="282"/>
                    </a:lnTo>
                    <a:lnTo>
                      <a:pt x="42" y="275"/>
                    </a:lnTo>
                    <a:lnTo>
                      <a:pt x="40" y="266"/>
                    </a:lnTo>
                    <a:lnTo>
                      <a:pt x="64" y="261"/>
                    </a:lnTo>
                    <a:lnTo>
                      <a:pt x="69" y="252"/>
                    </a:lnTo>
                    <a:lnTo>
                      <a:pt x="81" y="248"/>
                    </a:lnTo>
                    <a:lnTo>
                      <a:pt x="82" y="208"/>
                    </a:lnTo>
                    <a:lnTo>
                      <a:pt x="71" y="203"/>
                    </a:lnTo>
                    <a:lnTo>
                      <a:pt x="76" y="192"/>
                    </a:lnTo>
                    <a:lnTo>
                      <a:pt x="104" y="189"/>
                    </a:lnTo>
                    <a:lnTo>
                      <a:pt x="110" y="181"/>
                    </a:lnTo>
                    <a:lnTo>
                      <a:pt x="111" y="161"/>
                    </a:lnTo>
                    <a:lnTo>
                      <a:pt x="126" y="153"/>
                    </a:lnTo>
                    <a:lnTo>
                      <a:pt x="144" y="159"/>
                    </a:lnTo>
                    <a:lnTo>
                      <a:pt x="150" y="126"/>
                    </a:lnTo>
                    <a:lnTo>
                      <a:pt x="157" y="119"/>
                    </a:lnTo>
                    <a:lnTo>
                      <a:pt x="169" y="116"/>
                    </a:lnTo>
                    <a:lnTo>
                      <a:pt x="172" y="105"/>
                    </a:lnTo>
                    <a:lnTo>
                      <a:pt x="181" y="98"/>
                    </a:lnTo>
                    <a:lnTo>
                      <a:pt x="189" y="109"/>
                    </a:lnTo>
                    <a:lnTo>
                      <a:pt x="210" y="120"/>
                    </a:lnTo>
                    <a:lnTo>
                      <a:pt x="214" y="136"/>
                    </a:lnTo>
                    <a:lnTo>
                      <a:pt x="225" y="161"/>
                    </a:lnTo>
                    <a:lnTo>
                      <a:pt x="258" y="167"/>
                    </a:lnTo>
                    <a:lnTo>
                      <a:pt x="272" y="170"/>
                    </a:lnTo>
                    <a:lnTo>
                      <a:pt x="288" y="179"/>
                    </a:lnTo>
                    <a:lnTo>
                      <a:pt x="298" y="198"/>
                    </a:lnTo>
                    <a:lnTo>
                      <a:pt x="308" y="207"/>
                    </a:lnTo>
                    <a:lnTo>
                      <a:pt x="388" y="213"/>
                    </a:lnTo>
                    <a:lnTo>
                      <a:pt x="406" y="218"/>
                    </a:lnTo>
                    <a:lnTo>
                      <a:pt x="427" y="230"/>
                    </a:lnTo>
                    <a:lnTo>
                      <a:pt x="448" y="223"/>
                    </a:lnTo>
                    <a:lnTo>
                      <a:pt x="460" y="214"/>
                    </a:lnTo>
                    <a:lnTo>
                      <a:pt x="488" y="218"/>
                    </a:lnTo>
                    <a:lnTo>
                      <a:pt x="511" y="199"/>
                    </a:lnTo>
                    <a:lnTo>
                      <a:pt x="513" y="182"/>
                    </a:lnTo>
                    <a:lnTo>
                      <a:pt x="513" y="165"/>
                    </a:lnTo>
                    <a:lnTo>
                      <a:pt x="532" y="172"/>
                    </a:lnTo>
                    <a:lnTo>
                      <a:pt x="546" y="158"/>
                    </a:lnTo>
                    <a:lnTo>
                      <a:pt x="558" y="148"/>
                    </a:lnTo>
                    <a:lnTo>
                      <a:pt x="580" y="136"/>
                    </a:lnTo>
                    <a:lnTo>
                      <a:pt x="604" y="124"/>
                    </a:lnTo>
                    <a:lnTo>
                      <a:pt x="593" y="109"/>
                    </a:lnTo>
                    <a:lnTo>
                      <a:pt x="570" y="112"/>
                    </a:lnTo>
                    <a:lnTo>
                      <a:pt x="558" y="115"/>
                    </a:lnTo>
                    <a:lnTo>
                      <a:pt x="555" y="109"/>
                    </a:lnTo>
                    <a:lnTo>
                      <a:pt x="553" y="77"/>
                    </a:lnTo>
                    <a:lnTo>
                      <a:pt x="557" y="65"/>
                    </a:lnTo>
                    <a:lnTo>
                      <a:pt x="568" y="76"/>
                    </a:lnTo>
                    <a:lnTo>
                      <a:pt x="587" y="76"/>
                    </a:lnTo>
                    <a:lnTo>
                      <a:pt x="591" y="49"/>
                    </a:lnTo>
                    <a:lnTo>
                      <a:pt x="602" y="40"/>
                    </a:lnTo>
                    <a:lnTo>
                      <a:pt x="592" y="14"/>
                    </a:lnTo>
                    <a:lnTo>
                      <a:pt x="600" y="0"/>
                    </a:lnTo>
                    <a:lnTo>
                      <a:pt x="661" y="1"/>
                    </a:lnTo>
                    <a:lnTo>
                      <a:pt x="675" y="17"/>
                    </a:lnTo>
                    <a:lnTo>
                      <a:pt x="689" y="29"/>
                    </a:lnTo>
                    <a:lnTo>
                      <a:pt x="700" y="42"/>
                    </a:lnTo>
                    <a:lnTo>
                      <a:pt x="703" y="59"/>
                    </a:lnTo>
                    <a:lnTo>
                      <a:pt x="714" y="73"/>
                    </a:lnTo>
                    <a:lnTo>
                      <a:pt x="740" y="78"/>
                    </a:lnTo>
                    <a:lnTo>
                      <a:pt x="751" y="88"/>
                    </a:lnTo>
                    <a:lnTo>
                      <a:pt x="763" y="97"/>
                    </a:lnTo>
                    <a:lnTo>
                      <a:pt x="769" y="106"/>
                    </a:lnTo>
                    <a:lnTo>
                      <a:pt x="783" y="107"/>
                    </a:lnTo>
                    <a:lnTo>
                      <a:pt x="808" y="103"/>
                    </a:lnTo>
                    <a:lnTo>
                      <a:pt x="813" y="109"/>
                    </a:lnTo>
                    <a:lnTo>
                      <a:pt x="816" y="122"/>
                    </a:lnTo>
                    <a:lnTo>
                      <a:pt x="806" y="130"/>
                    </a:lnTo>
                    <a:lnTo>
                      <a:pt x="804" y="165"/>
                    </a:lnTo>
                    <a:lnTo>
                      <a:pt x="791" y="164"/>
                    </a:lnTo>
                    <a:lnTo>
                      <a:pt x="783" y="178"/>
                    </a:lnTo>
                    <a:lnTo>
                      <a:pt x="784" y="194"/>
                    </a:lnTo>
                    <a:lnTo>
                      <a:pt x="798" y="198"/>
                    </a:lnTo>
                    <a:lnTo>
                      <a:pt x="797" y="198"/>
                    </a:lnTo>
                    <a:lnTo>
                      <a:pt x="783" y="209"/>
                    </a:lnTo>
                    <a:lnTo>
                      <a:pt x="769" y="213"/>
                    </a:lnTo>
                    <a:lnTo>
                      <a:pt x="755" y="230"/>
                    </a:lnTo>
                    <a:lnTo>
                      <a:pt x="741" y="230"/>
                    </a:lnTo>
                    <a:lnTo>
                      <a:pt x="729" y="224"/>
                    </a:lnTo>
                    <a:lnTo>
                      <a:pt x="721" y="248"/>
                    </a:lnTo>
                    <a:lnTo>
                      <a:pt x="707" y="257"/>
                    </a:lnTo>
                    <a:lnTo>
                      <a:pt x="689" y="268"/>
                    </a:lnTo>
                    <a:lnTo>
                      <a:pt x="669" y="275"/>
                    </a:lnTo>
                    <a:lnTo>
                      <a:pt x="667" y="258"/>
                    </a:lnTo>
                    <a:lnTo>
                      <a:pt x="663" y="242"/>
                    </a:lnTo>
                    <a:lnTo>
                      <a:pt x="657" y="241"/>
                    </a:lnTo>
                    <a:lnTo>
                      <a:pt x="648" y="248"/>
                    </a:lnTo>
                    <a:lnTo>
                      <a:pt x="641" y="25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3" name="Freeform 200">
                <a:extLst>
                  <a:ext uri="{FF2B5EF4-FFF2-40B4-BE49-F238E27FC236}">
                    <a16:creationId xmlns:a16="http://schemas.microsoft.com/office/drawing/2014/main" id="{61E252E2-C8D7-436E-B433-0BBA8136CB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4" y="2205"/>
                <a:ext cx="78" cy="101"/>
              </a:xfrm>
              <a:custGeom>
                <a:avLst/>
                <a:gdLst>
                  <a:gd name="T0" fmla="*/ 67 w 70"/>
                  <a:gd name="T1" fmla="*/ 0 h 91"/>
                  <a:gd name="T2" fmla="*/ 69 w 70"/>
                  <a:gd name="T3" fmla="*/ 25 h 91"/>
                  <a:gd name="T4" fmla="*/ 60 w 70"/>
                  <a:gd name="T5" fmla="*/ 31 h 91"/>
                  <a:gd name="T6" fmla="*/ 52 w 70"/>
                  <a:gd name="T7" fmla="*/ 45 h 91"/>
                  <a:gd name="T8" fmla="*/ 39 w 70"/>
                  <a:gd name="T9" fmla="*/ 51 h 91"/>
                  <a:gd name="T10" fmla="*/ 55 w 70"/>
                  <a:gd name="T11" fmla="*/ 67 h 91"/>
                  <a:gd name="T12" fmla="*/ 50 w 70"/>
                  <a:gd name="T13" fmla="*/ 82 h 91"/>
                  <a:gd name="T14" fmla="*/ 29 w 70"/>
                  <a:gd name="T15" fmla="*/ 90 h 91"/>
                  <a:gd name="T16" fmla="*/ 22 w 70"/>
                  <a:gd name="T17" fmla="*/ 81 h 91"/>
                  <a:gd name="T18" fmla="*/ 4 w 70"/>
                  <a:gd name="T19" fmla="*/ 73 h 91"/>
                  <a:gd name="T20" fmla="*/ 15 w 70"/>
                  <a:gd name="T21" fmla="*/ 65 h 91"/>
                  <a:gd name="T22" fmla="*/ 16 w 70"/>
                  <a:gd name="T23" fmla="*/ 48 h 91"/>
                  <a:gd name="T24" fmla="*/ 4 w 70"/>
                  <a:gd name="T25" fmla="*/ 45 h 91"/>
                  <a:gd name="T26" fmla="*/ 0 w 70"/>
                  <a:gd name="T27" fmla="*/ 45 h 91"/>
                  <a:gd name="T28" fmla="*/ 14 w 70"/>
                  <a:gd name="T29" fmla="*/ 37 h 91"/>
                  <a:gd name="T30" fmla="*/ 22 w 70"/>
                  <a:gd name="T31" fmla="*/ 12 h 91"/>
                  <a:gd name="T32" fmla="*/ 34 w 70"/>
                  <a:gd name="T33" fmla="*/ 18 h 91"/>
                  <a:gd name="T34" fmla="*/ 48 w 70"/>
                  <a:gd name="T35" fmla="*/ 18 h 91"/>
                  <a:gd name="T36" fmla="*/ 62 w 70"/>
                  <a:gd name="T37" fmla="*/ 1 h 91"/>
                  <a:gd name="T38" fmla="*/ 67 w 70"/>
                  <a:gd name="T3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91">
                    <a:moveTo>
                      <a:pt x="67" y="0"/>
                    </a:moveTo>
                    <a:lnTo>
                      <a:pt x="69" y="25"/>
                    </a:lnTo>
                    <a:lnTo>
                      <a:pt x="60" y="31"/>
                    </a:lnTo>
                    <a:lnTo>
                      <a:pt x="52" y="45"/>
                    </a:lnTo>
                    <a:lnTo>
                      <a:pt x="39" y="51"/>
                    </a:lnTo>
                    <a:lnTo>
                      <a:pt x="55" y="67"/>
                    </a:lnTo>
                    <a:lnTo>
                      <a:pt x="50" y="82"/>
                    </a:lnTo>
                    <a:lnTo>
                      <a:pt x="29" y="90"/>
                    </a:lnTo>
                    <a:lnTo>
                      <a:pt x="22" y="81"/>
                    </a:lnTo>
                    <a:lnTo>
                      <a:pt x="4" y="73"/>
                    </a:lnTo>
                    <a:lnTo>
                      <a:pt x="15" y="65"/>
                    </a:lnTo>
                    <a:lnTo>
                      <a:pt x="16" y="48"/>
                    </a:lnTo>
                    <a:lnTo>
                      <a:pt x="4" y="45"/>
                    </a:lnTo>
                    <a:lnTo>
                      <a:pt x="0" y="45"/>
                    </a:lnTo>
                    <a:lnTo>
                      <a:pt x="14" y="37"/>
                    </a:lnTo>
                    <a:lnTo>
                      <a:pt x="22" y="12"/>
                    </a:lnTo>
                    <a:lnTo>
                      <a:pt x="34" y="18"/>
                    </a:lnTo>
                    <a:lnTo>
                      <a:pt x="48" y="18"/>
                    </a:lnTo>
                    <a:lnTo>
                      <a:pt x="62" y="1"/>
                    </a:lnTo>
                    <a:lnTo>
                      <a:pt x="67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4" name="Freeform 201">
                <a:extLst>
                  <a:ext uri="{FF2B5EF4-FFF2-40B4-BE49-F238E27FC236}">
                    <a16:creationId xmlns:a16="http://schemas.microsoft.com/office/drawing/2014/main" id="{CDDEDD52-FC90-413C-BA33-9CBC4BFFDD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3" y="2504"/>
                <a:ext cx="126" cy="325"/>
              </a:xfrm>
              <a:custGeom>
                <a:avLst/>
                <a:gdLst>
                  <a:gd name="T0" fmla="*/ 1 w 113"/>
                  <a:gd name="T1" fmla="*/ 109 h 289"/>
                  <a:gd name="T2" fmla="*/ 8 w 113"/>
                  <a:gd name="T3" fmla="*/ 97 h 289"/>
                  <a:gd name="T4" fmla="*/ 8 w 113"/>
                  <a:gd name="T5" fmla="*/ 69 h 289"/>
                  <a:gd name="T6" fmla="*/ 21 w 113"/>
                  <a:gd name="T7" fmla="*/ 54 h 289"/>
                  <a:gd name="T8" fmla="*/ 27 w 113"/>
                  <a:gd name="T9" fmla="*/ 35 h 289"/>
                  <a:gd name="T10" fmla="*/ 38 w 113"/>
                  <a:gd name="T11" fmla="*/ 20 h 289"/>
                  <a:gd name="T12" fmla="*/ 56 w 113"/>
                  <a:gd name="T13" fmla="*/ 11 h 289"/>
                  <a:gd name="T14" fmla="*/ 57 w 113"/>
                  <a:gd name="T15" fmla="*/ 3 h 289"/>
                  <a:gd name="T16" fmla="*/ 74 w 113"/>
                  <a:gd name="T17" fmla="*/ 0 h 289"/>
                  <a:gd name="T18" fmla="*/ 78 w 113"/>
                  <a:gd name="T19" fmla="*/ 8 h 289"/>
                  <a:gd name="T20" fmla="*/ 84 w 113"/>
                  <a:gd name="T21" fmla="*/ 25 h 289"/>
                  <a:gd name="T22" fmla="*/ 78 w 113"/>
                  <a:gd name="T23" fmla="*/ 37 h 289"/>
                  <a:gd name="T24" fmla="*/ 68 w 113"/>
                  <a:gd name="T25" fmla="*/ 45 h 289"/>
                  <a:gd name="T26" fmla="*/ 67 w 113"/>
                  <a:gd name="T27" fmla="*/ 58 h 289"/>
                  <a:gd name="T28" fmla="*/ 83 w 113"/>
                  <a:gd name="T29" fmla="*/ 60 h 289"/>
                  <a:gd name="T30" fmla="*/ 91 w 113"/>
                  <a:gd name="T31" fmla="*/ 75 h 289"/>
                  <a:gd name="T32" fmla="*/ 94 w 113"/>
                  <a:gd name="T33" fmla="*/ 98 h 289"/>
                  <a:gd name="T34" fmla="*/ 109 w 113"/>
                  <a:gd name="T35" fmla="*/ 102 h 289"/>
                  <a:gd name="T36" fmla="*/ 112 w 113"/>
                  <a:gd name="T37" fmla="*/ 111 h 289"/>
                  <a:gd name="T38" fmla="*/ 105 w 113"/>
                  <a:gd name="T39" fmla="*/ 125 h 289"/>
                  <a:gd name="T40" fmla="*/ 97 w 113"/>
                  <a:gd name="T41" fmla="*/ 132 h 289"/>
                  <a:gd name="T42" fmla="*/ 82 w 113"/>
                  <a:gd name="T43" fmla="*/ 138 h 289"/>
                  <a:gd name="T44" fmla="*/ 80 w 113"/>
                  <a:gd name="T45" fmla="*/ 164 h 289"/>
                  <a:gd name="T46" fmla="*/ 84 w 113"/>
                  <a:gd name="T47" fmla="*/ 175 h 289"/>
                  <a:gd name="T48" fmla="*/ 96 w 113"/>
                  <a:gd name="T49" fmla="*/ 190 h 289"/>
                  <a:gd name="T50" fmla="*/ 91 w 113"/>
                  <a:gd name="T51" fmla="*/ 215 h 289"/>
                  <a:gd name="T52" fmla="*/ 93 w 113"/>
                  <a:gd name="T53" fmla="*/ 227 h 289"/>
                  <a:gd name="T54" fmla="*/ 98 w 113"/>
                  <a:gd name="T55" fmla="*/ 246 h 289"/>
                  <a:gd name="T56" fmla="*/ 110 w 113"/>
                  <a:gd name="T57" fmla="*/ 257 h 289"/>
                  <a:gd name="T58" fmla="*/ 101 w 113"/>
                  <a:gd name="T59" fmla="*/ 278 h 289"/>
                  <a:gd name="T60" fmla="*/ 94 w 113"/>
                  <a:gd name="T61" fmla="*/ 288 h 289"/>
                  <a:gd name="T62" fmla="*/ 88 w 113"/>
                  <a:gd name="T63" fmla="*/ 261 h 289"/>
                  <a:gd name="T64" fmla="*/ 84 w 113"/>
                  <a:gd name="T65" fmla="*/ 242 h 289"/>
                  <a:gd name="T66" fmla="*/ 73 w 113"/>
                  <a:gd name="T67" fmla="*/ 234 h 289"/>
                  <a:gd name="T68" fmla="*/ 78 w 113"/>
                  <a:gd name="T69" fmla="*/ 197 h 289"/>
                  <a:gd name="T70" fmla="*/ 64 w 113"/>
                  <a:gd name="T71" fmla="*/ 175 h 289"/>
                  <a:gd name="T72" fmla="*/ 56 w 113"/>
                  <a:gd name="T73" fmla="*/ 187 h 289"/>
                  <a:gd name="T74" fmla="*/ 46 w 113"/>
                  <a:gd name="T75" fmla="*/ 197 h 289"/>
                  <a:gd name="T76" fmla="*/ 32 w 113"/>
                  <a:gd name="T77" fmla="*/ 192 h 289"/>
                  <a:gd name="T78" fmla="*/ 28 w 113"/>
                  <a:gd name="T79" fmla="*/ 160 h 289"/>
                  <a:gd name="T80" fmla="*/ 25 w 113"/>
                  <a:gd name="T81" fmla="*/ 145 h 289"/>
                  <a:gd name="T82" fmla="*/ 13 w 113"/>
                  <a:gd name="T83" fmla="*/ 128 h 289"/>
                  <a:gd name="T84" fmla="*/ 0 w 113"/>
                  <a:gd name="T85" fmla="*/ 117 h 289"/>
                  <a:gd name="T86" fmla="*/ 1 w 113"/>
                  <a:gd name="T87" fmla="*/ 109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3" h="289">
                    <a:moveTo>
                      <a:pt x="1" y="109"/>
                    </a:moveTo>
                    <a:lnTo>
                      <a:pt x="8" y="97"/>
                    </a:lnTo>
                    <a:lnTo>
                      <a:pt x="8" y="69"/>
                    </a:lnTo>
                    <a:lnTo>
                      <a:pt x="21" y="54"/>
                    </a:lnTo>
                    <a:lnTo>
                      <a:pt x="27" y="35"/>
                    </a:lnTo>
                    <a:lnTo>
                      <a:pt x="38" y="20"/>
                    </a:lnTo>
                    <a:lnTo>
                      <a:pt x="56" y="11"/>
                    </a:lnTo>
                    <a:lnTo>
                      <a:pt x="57" y="3"/>
                    </a:lnTo>
                    <a:lnTo>
                      <a:pt x="74" y="0"/>
                    </a:lnTo>
                    <a:lnTo>
                      <a:pt x="78" y="8"/>
                    </a:lnTo>
                    <a:lnTo>
                      <a:pt x="84" y="25"/>
                    </a:lnTo>
                    <a:lnTo>
                      <a:pt x="78" y="37"/>
                    </a:lnTo>
                    <a:lnTo>
                      <a:pt x="68" y="45"/>
                    </a:lnTo>
                    <a:lnTo>
                      <a:pt x="67" y="58"/>
                    </a:lnTo>
                    <a:lnTo>
                      <a:pt x="83" y="60"/>
                    </a:lnTo>
                    <a:lnTo>
                      <a:pt x="91" y="75"/>
                    </a:lnTo>
                    <a:lnTo>
                      <a:pt x="94" y="98"/>
                    </a:lnTo>
                    <a:lnTo>
                      <a:pt x="109" y="102"/>
                    </a:lnTo>
                    <a:lnTo>
                      <a:pt x="112" y="111"/>
                    </a:lnTo>
                    <a:lnTo>
                      <a:pt x="105" y="125"/>
                    </a:lnTo>
                    <a:lnTo>
                      <a:pt x="97" y="132"/>
                    </a:lnTo>
                    <a:lnTo>
                      <a:pt x="82" y="138"/>
                    </a:lnTo>
                    <a:lnTo>
                      <a:pt x="80" y="164"/>
                    </a:lnTo>
                    <a:lnTo>
                      <a:pt x="84" y="175"/>
                    </a:lnTo>
                    <a:lnTo>
                      <a:pt x="96" y="190"/>
                    </a:lnTo>
                    <a:lnTo>
                      <a:pt x="91" y="215"/>
                    </a:lnTo>
                    <a:lnTo>
                      <a:pt x="93" y="227"/>
                    </a:lnTo>
                    <a:lnTo>
                      <a:pt x="98" y="246"/>
                    </a:lnTo>
                    <a:lnTo>
                      <a:pt x="110" y="257"/>
                    </a:lnTo>
                    <a:lnTo>
                      <a:pt x="101" y="278"/>
                    </a:lnTo>
                    <a:lnTo>
                      <a:pt x="94" y="288"/>
                    </a:lnTo>
                    <a:lnTo>
                      <a:pt x="88" y="261"/>
                    </a:lnTo>
                    <a:lnTo>
                      <a:pt x="84" y="242"/>
                    </a:lnTo>
                    <a:lnTo>
                      <a:pt x="73" y="234"/>
                    </a:lnTo>
                    <a:lnTo>
                      <a:pt x="78" y="197"/>
                    </a:lnTo>
                    <a:lnTo>
                      <a:pt x="64" y="175"/>
                    </a:lnTo>
                    <a:lnTo>
                      <a:pt x="56" y="187"/>
                    </a:lnTo>
                    <a:lnTo>
                      <a:pt x="46" y="197"/>
                    </a:lnTo>
                    <a:lnTo>
                      <a:pt x="32" y="192"/>
                    </a:lnTo>
                    <a:lnTo>
                      <a:pt x="28" y="160"/>
                    </a:lnTo>
                    <a:lnTo>
                      <a:pt x="25" y="145"/>
                    </a:lnTo>
                    <a:lnTo>
                      <a:pt x="13" y="128"/>
                    </a:lnTo>
                    <a:lnTo>
                      <a:pt x="0" y="117"/>
                    </a:lnTo>
                    <a:lnTo>
                      <a:pt x="1" y="10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" name="Freeform 202">
                <a:extLst>
                  <a:ext uri="{FF2B5EF4-FFF2-40B4-BE49-F238E27FC236}">
                    <a16:creationId xmlns:a16="http://schemas.microsoft.com/office/drawing/2014/main" id="{6AA11289-B35C-45A4-B066-90BB4E2B66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2" y="2922"/>
                <a:ext cx="190" cy="210"/>
              </a:xfrm>
              <a:custGeom>
                <a:avLst/>
                <a:gdLst>
                  <a:gd name="T0" fmla="*/ 65 w 170"/>
                  <a:gd name="T1" fmla="*/ 29 h 187"/>
                  <a:gd name="T2" fmla="*/ 43 w 170"/>
                  <a:gd name="T3" fmla="*/ 20 h 187"/>
                  <a:gd name="T4" fmla="*/ 25 w 170"/>
                  <a:gd name="T5" fmla="*/ 0 h 187"/>
                  <a:gd name="T6" fmla="*/ 3 w 170"/>
                  <a:gd name="T7" fmla="*/ 3 h 187"/>
                  <a:gd name="T8" fmla="*/ 0 w 170"/>
                  <a:gd name="T9" fmla="*/ 11 h 187"/>
                  <a:gd name="T10" fmla="*/ 26 w 170"/>
                  <a:gd name="T11" fmla="*/ 29 h 187"/>
                  <a:gd name="T12" fmla="*/ 49 w 170"/>
                  <a:gd name="T13" fmla="*/ 49 h 187"/>
                  <a:gd name="T14" fmla="*/ 65 w 170"/>
                  <a:gd name="T15" fmla="*/ 63 h 187"/>
                  <a:gd name="T16" fmla="*/ 69 w 170"/>
                  <a:gd name="T17" fmla="*/ 84 h 187"/>
                  <a:gd name="T18" fmla="*/ 78 w 170"/>
                  <a:gd name="T19" fmla="*/ 103 h 187"/>
                  <a:gd name="T20" fmla="*/ 108 w 170"/>
                  <a:gd name="T21" fmla="*/ 143 h 187"/>
                  <a:gd name="T22" fmla="*/ 134 w 170"/>
                  <a:gd name="T23" fmla="*/ 174 h 187"/>
                  <a:gd name="T24" fmla="*/ 143 w 170"/>
                  <a:gd name="T25" fmla="*/ 186 h 187"/>
                  <a:gd name="T26" fmla="*/ 169 w 170"/>
                  <a:gd name="T27" fmla="*/ 174 h 187"/>
                  <a:gd name="T28" fmla="*/ 166 w 170"/>
                  <a:gd name="T29" fmla="*/ 158 h 187"/>
                  <a:gd name="T30" fmla="*/ 166 w 170"/>
                  <a:gd name="T31" fmla="*/ 138 h 187"/>
                  <a:gd name="T32" fmla="*/ 158 w 170"/>
                  <a:gd name="T33" fmla="*/ 127 h 187"/>
                  <a:gd name="T34" fmla="*/ 135 w 170"/>
                  <a:gd name="T35" fmla="*/ 119 h 187"/>
                  <a:gd name="T36" fmla="*/ 135 w 170"/>
                  <a:gd name="T37" fmla="*/ 110 h 187"/>
                  <a:gd name="T38" fmla="*/ 127 w 170"/>
                  <a:gd name="T39" fmla="*/ 97 h 187"/>
                  <a:gd name="T40" fmla="*/ 127 w 170"/>
                  <a:gd name="T41" fmla="*/ 79 h 187"/>
                  <a:gd name="T42" fmla="*/ 112 w 170"/>
                  <a:gd name="T43" fmla="*/ 65 h 187"/>
                  <a:gd name="T44" fmla="*/ 92 w 170"/>
                  <a:gd name="T45" fmla="*/ 53 h 187"/>
                  <a:gd name="T46" fmla="*/ 65 w 170"/>
                  <a:gd name="T47" fmla="*/ 29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0" h="187">
                    <a:moveTo>
                      <a:pt x="65" y="29"/>
                    </a:moveTo>
                    <a:lnTo>
                      <a:pt x="43" y="20"/>
                    </a:lnTo>
                    <a:lnTo>
                      <a:pt x="25" y="0"/>
                    </a:lnTo>
                    <a:lnTo>
                      <a:pt x="3" y="3"/>
                    </a:lnTo>
                    <a:lnTo>
                      <a:pt x="0" y="11"/>
                    </a:lnTo>
                    <a:lnTo>
                      <a:pt x="26" y="29"/>
                    </a:lnTo>
                    <a:lnTo>
                      <a:pt x="49" y="49"/>
                    </a:lnTo>
                    <a:lnTo>
                      <a:pt x="65" y="63"/>
                    </a:lnTo>
                    <a:lnTo>
                      <a:pt x="69" y="84"/>
                    </a:lnTo>
                    <a:lnTo>
                      <a:pt x="78" y="103"/>
                    </a:lnTo>
                    <a:lnTo>
                      <a:pt x="108" y="143"/>
                    </a:lnTo>
                    <a:lnTo>
                      <a:pt x="134" y="174"/>
                    </a:lnTo>
                    <a:lnTo>
                      <a:pt x="143" y="186"/>
                    </a:lnTo>
                    <a:lnTo>
                      <a:pt x="169" y="174"/>
                    </a:lnTo>
                    <a:lnTo>
                      <a:pt x="166" y="158"/>
                    </a:lnTo>
                    <a:lnTo>
                      <a:pt x="166" y="138"/>
                    </a:lnTo>
                    <a:lnTo>
                      <a:pt x="158" y="127"/>
                    </a:lnTo>
                    <a:lnTo>
                      <a:pt x="135" y="119"/>
                    </a:lnTo>
                    <a:lnTo>
                      <a:pt x="135" y="110"/>
                    </a:lnTo>
                    <a:lnTo>
                      <a:pt x="127" y="97"/>
                    </a:lnTo>
                    <a:lnTo>
                      <a:pt x="127" y="79"/>
                    </a:lnTo>
                    <a:lnTo>
                      <a:pt x="112" y="65"/>
                    </a:lnTo>
                    <a:lnTo>
                      <a:pt x="92" y="53"/>
                    </a:lnTo>
                    <a:lnTo>
                      <a:pt x="65" y="2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6" name="Freeform 203">
                <a:extLst>
                  <a:ext uri="{FF2B5EF4-FFF2-40B4-BE49-F238E27FC236}">
                    <a16:creationId xmlns:a16="http://schemas.microsoft.com/office/drawing/2014/main" id="{648DECD8-D6FA-44DC-80B8-3EE4929278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7" y="2893"/>
                <a:ext cx="183" cy="206"/>
              </a:xfrm>
              <a:custGeom>
                <a:avLst/>
                <a:gdLst>
                  <a:gd name="T0" fmla="*/ 35 w 163"/>
                  <a:gd name="T1" fmla="*/ 89 h 184"/>
                  <a:gd name="T2" fmla="*/ 4 w 163"/>
                  <a:gd name="T3" fmla="*/ 89 h 184"/>
                  <a:gd name="T4" fmla="*/ 0 w 163"/>
                  <a:gd name="T5" fmla="*/ 112 h 184"/>
                  <a:gd name="T6" fmla="*/ 11 w 163"/>
                  <a:gd name="T7" fmla="*/ 118 h 184"/>
                  <a:gd name="T8" fmla="*/ 12 w 163"/>
                  <a:gd name="T9" fmla="*/ 136 h 184"/>
                  <a:gd name="T10" fmla="*/ 25 w 163"/>
                  <a:gd name="T11" fmla="*/ 139 h 184"/>
                  <a:gd name="T12" fmla="*/ 26 w 163"/>
                  <a:gd name="T13" fmla="*/ 160 h 184"/>
                  <a:gd name="T14" fmla="*/ 34 w 163"/>
                  <a:gd name="T15" fmla="*/ 161 h 184"/>
                  <a:gd name="T16" fmla="*/ 41 w 163"/>
                  <a:gd name="T17" fmla="*/ 170 h 184"/>
                  <a:gd name="T18" fmla="*/ 62 w 163"/>
                  <a:gd name="T19" fmla="*/ 175 h 184"/>
                  <a:gd name="T20" fmla="*/ 70 w 163"/>
                  <a:gd name="T21" fmla="*/ 164 h 184"/>
                  <a:gd name="T22" fmla="*/ 81 w 163"/>
                  <a:gd name="T23" fmla="*/ 168 h 184"/>
                  <a:gd name="T24" fmla="*/ 89 w 163"/>
                  <a:gd name="T25" fmla="*/ 183 h 184"/>
                  <a:gd name="T26" fmla="*/ 108 w 163"/>
                  <a:gd name="T27" fmla="*/ 181 h 184"/>
                  <a:gd name="T28" fmla="*/ 112 w 163"/>
                  <a:gd name="T29" fmla="*/ 169 h 184"/>
                  <a:gd name="T30" fmla="*/ 120 w 163"/>
                  <a:gd name="T31" fmla="*/ 157 h 184"/>
                  <a:gd name="T32" fmla="*/ 120 w 163"/>
                  <a:gd name="T33" fmla="*/ 142 h 184"/>
                  <a:gd name="T34" fmla="*/ 132 w 163"/>
                  <a:gd name="T35" fmla="*/ 131 h 184"/>
                  <a:gd name="T36" fmla="*/ 138 w 163"/>
                  <a:gd name="T37" fmla="*/ 107 h 184"/>
                  <a:gd name="T38" fmla="*/ 151 w 163"/>
                  <a:gd name="T39" fmla="*/ 102 h 184"/>
                  <a:gd name="T40" fmla="*/ 151 w 163"/>
                  <a:gd name="T41" fmla="*/ 88 h 184"/>
                  <a:gd name="T42" fmla="*/ 137 w 163"/>
                  <a:gd name="T43" fmla="*/ 77 h 184"/>
                  <a:gd name="T44" fmla="*/ 137 w 163"/>
                  <a:gd name="T45" fmla="*/ 52 h 184"/>
                  <a:gd name="T46" fmla="*/ 148 w 163"/>
                  <a:gd name="T47" fmla="*/ 43 h 184"/>
                  <a:gd name="T48" fmla="*/ 162 w 163"/>
                  <a:gd name="T49" fmla="*/ 32 h 184"/>
                  <a:gd name="T50" fmla="*/ 159 w 163"/>
                  <a:gd name="T51" fmla="*/ 17 h 184"/>
                  <a:gd name="T52" fmla="*/ 141 w 163"/>
                  <a:gd name="T53" fmla="*/ 13 h 184"/>
                  <a:gd name="T54" fmla="*/ 131 w 163"/>
                  <a:gd name="T55" fmla="*/ 9 h 184"/>
                  <a:gd name="T56" fmla="*/ 114 w 163"/>
                  <a:gd name="T57" fmla="*/ 0 h 184"/>
                  <a:gd name="T58" fmla="*/ 110 w 163"/>
                  <a:gd name="T59" fmla="*/ 14 h 184"/>
                  <a:gd name="T60" fmla="*/ 99 w 163"/>
                  <a:gd name="T61" fmla="*/ 20 h 184"/>
                  <a:gd name="T62" fmla="*/ 96 w 163"/>
                  <a:gd name="T63" fmla="*/ 37 h 184"/>
                  <a:gd name="T64" fmla="*/ 84 w 163"/>
                  <a:gd name="T65" fmla="*/ 43 h 184"/>
                  <a:gd name="T66" fmla="*/ 70 w 163"/>
                  <a:gd name="T67" fmla="*/ 53 h 184"/>
                  <a:gd name="T68" fmla="*/ 63 w 163"/>
                  <a:gd name="T69" fmla="*/ 68 h 184"/>
                  <a:gd name="T70" fmla="*/ 44 w 163"/>
                  <a:gd name="T71" fmla="*/ 66 h 184"/>
                  <a:gd name="T72" fmla="*/ 41 w 163"/>
                  <a:gd name="T73" fmla="*/ 80 h 184"/>
                  <a:gd name="T74" fmla="*/ 35 w 163"/>
                  <a:gd name="T75" fmla="*/ 89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3" h="184">
                    <a:moveTo>
                      <a:pt x="35" y="89"/>
                    </a:moveTo>
                    <a:lnTo>
                      <a:pt x="4" y="89"/>
                    </a:lnTo>
                    <a:lnTo>
                      <a:pt x="0" y="112"/>
                    </a:lnTo>
                    <a:lnTo>
                      <a:pt x="11" y="118"/>
                    </a:lnTo>
                    <a:lnTo>
                      <a:pt x="12" y="136"/>
                    </a:lnTo>
                    <a:lnTo>
                      <a:pt x="25" y="139"/>
                    </a:lnTo>
                    <a:lnTo>
                      <a:pt x="26" y="160"/>
                    </a:lnTo>
                    <a:lnTo>
                      <a:pt x="34" y="161"/>
                    </a:lnTo>
                    <a:lnTo>
                      <a:pt x="41" y="170"/>
                    </a:lnTo>
                    <a:lnTo>
                      <a:pt x="62" y="175"/>
                    </a:lnTo>
                    <a:lnTo>
                      <a:pt x="70" y="164"/>
                    </a:lnTo>
                    <a:lnTo>
                      <a:pt x="81" y="168"/>
                    </a:lnTo>
                    <a:lnTo>
                      <a:pt x="89" y="183"/>
                    </a:lnTo>
                    <a:lnTo>
                      <a:pt x="108" y="181"/>
                    </a:lnTo>
                    <a:lnTo>
                      <a:pt x="112" y="169"/>
                    </a:lnTo>
                    <a:lnTo>
                      <a:pt x="120" y="157"/>
                    </a:lnTo>
                    <a:lnTo>
                      <a:pt x="120" y="142"/>
                    </a:lnTo>
                    <a:lnTo>
                      <a:pt x="132" y="131"/>
                    </a:lnTo>
                    <a:lnTo>
                      <a:pt x="138" y="107"/>
                    </a:lnTo>
                    <a:lnTo>
                      <a:pt x="151" y="102"/>
                    </a:lnTo>
                    <a:lnTo>
                      <a:pt x="151" y="88"/>
                    </a:lnTo>
                    <a:lnTo>
                      <a:pt x="137" y="77"/>
                    </a:lnTo>
                    <a:lnTo>
                      <a:pt x="137" y="52"/>
                    </a:lnTo>
                    <a:lnTo>
                      <a:pt x="148" y="43"/>
                    </a:lnTo>
                    <a:lnTo>
                      <a:pt x="162" y="32"/>
                    </a:lnTo>
                    <a:lnTo>
                      <a:pt x="159" y="17"/>
                    </a:lnTo>
                    <a:lnTo>
                      <a:pt x="141" y="13"/>
                    </a:lnTo>
                    <a:lnTo>
                      <a:pt x="131" y="9"/>
                    </a:lnTo>
                    <a:lnTo>
                      <a:pt x="114" y="0"/>
                    </a:lnTo>
                    <a:lnTo>
                      <a:pt x="110" y="14"/>
                    </a:lnTo>
                    <a:lnTo>
                      <a:pt x="99" y="20"/>
                    </a:lnTo>
                    <a:lnTo>
                      <a:pt x="96" y="37"/>
                    </a:lnTo>
                    <a:lnTo>
                      <a:pt x="84" y="43"/>
                    </a:lnTo>
                    <a:lnTo>
                      <a:pt x="70" y="53"/>
                    </a:lnTo>
                    <a:lnTo>
                      <a:pt x="63" y="68"/>
                    </a:lnTo>
                    <a:lnTo>
                      <a:pt x="44" y="66"/>
                    </a:lnTo>
                    <a:lnTo>
                      <a:pt x="41" y="80"/>
                    </a:lnTo>
                    <a:lnTo>
                      <a:pt x="35" y="8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7" name="Freeform 204">
                <a:extLst>
                  <a:ext uri="{FF2B5EF4-FFF2-40B4-BE49-F238E27FC236}">
                    <a16:creationId xmlns:a16="http://schemas.microsoft.com/office/drawing/2014/main" id="{1DC55927-62A5-4D8C-8546-E1AE7572F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9" y="2589"/>
                <a:ext cx="125" cy="280"/>
              </a:xfrm>
              <a:custGeom>
                <a:avLst/>
                <a:gdLst>
                  <a:gd name="T0" fmla="*/ 0 w 111"/>
                  <a:gd name="T1" fmla="*/ 12 h 250"/>
                  <a:gd name="T2" fmla="*/ 8 w 111"/>
                  <a:gd name="T3" fmla="*/ 35 h 250"/>
                  <a:gd name="T4" fmla="*/ 34 w 111"/>
                  <a:gd name="T5" fmla="*/ 44 h 250"/>
                  <a:gd name="T6" fmla="*/ 36 w 111"/>
                  <a:gd name="T7" fmla="*/ 53 h 250"/>
                  <a:gd name="T8" fmla="*/ 32 w 111"/>
                  <a:gd name="T9" fmla="*/ 69 h 250"/>
                  <a:gd name="T10" fmla="*/ 42 w 111"/>
                  <a:gd name="T11" fmla="*/ 80 h 250"/>
                  <a:gd name="T12" fmla="*/ 64 w 111"/>
                  <a:gd name="T13" fmla="*/ 113 h 250"/>
                  <a:gd name="T14" fmla="*/ 77 w 111"/>
                  <a:gd name="T15" fmla="*/ 122 h 250"/>
                  <a:gd name="T16" fmla="*/ 77 w 111"/>
                  <a:gd name="T17" fmla="*/ 151 h 250"/>
                  <a:gd name="T18" fmla="*/ 83 w 111"/>
                  <a:gd name="T19" fmla="*/ 156 h 250"/>
                  <a:gd name="T20" fmla="*/ 85 w 111"/>
                  <a:gd name="T21" fmla="*/ 183 h 250"/>
                  <a:gd name="T22" fmla="*/ 75 w 111"/>
                  <a:gd name="T23" fmla="*/ 191 h 250"/>
                  <a:gd name="T24" fmla="*/ 61 w 111"/>
                  <a:gd name="T25" fmla="*/ 205 h 250"/>
                  <a:gd name="T26" fmla="*/ 47 w 111"/>
                  <a:gd name="T27" fmla="*/ 215 h 250"/>
                  <a:gd name="T28" fmla="*/ 53 w 111"/>
                  <a:gd name="T29" fmla="*/ 224 h 250"/>
                  <a:gd name="T30" fmla="*/ 46 w 111"/>
                  <a:gd name="T31" fmla="*/ 234 h 250"/>
                  <a:gd name="T32" fmla="*/ 51 w 111"/>
                  <a:gd name="T33" fmla="*/ 249 h 250"/>
                  <a:gd name="T34" fmla="*/ 77 w 111"/>
                  <a:gd name="T35" fmla="*/ 230 h 250"/>
                  <a:gd name="T36" fmla="*/ 100 w 111"/>
                  <a:gd name="T37" fmla="*/ 209 h 250"/>
                  <a:gd name="T38" fmla="*/ 106 w 111"/>
                  <a:gd name="T39" fmla="*/ 201 h 250"/>
                  <a:gd name="T40" fmla="*/ 110 w 111"/>
                  <a:gd name="T41" fmla="*/ 163 h 250"/>
                  <a:gd name="T42" fmla="*/ 102 w 111"/>
                  <a:gd name="T43" fmla="*/ 131 h 250"/>
                  <a:gd name="T44" fmla="*/ 81 w 111"/>
                  <a:gd name="T45" fmla="*/ 108 h 250"/>
                  <a:gd name="T46" fmla="*/ 57 w 111"/>
                  <a:gd name="T47" fmla="*/ 80 h 250"/>
                  <a:gd name="T48" fmla="*/ 57 w 111"/>
                  <a:gd name="T49" fmla="*/ 59 h 250"/>
                  <a:gd name="T50" fmla="*/ 63 w 111"/>
                  <a:gd name="T51" fmla="*/ 52 h 250"/>
                  <a:gd name="T52" fmla="*/ 81 w 111"/>
                  <a:gd name="T53" fmla="*/ 38 h 250"/>
                  <a:gd name="T54" fmla="*/ 60 w 111"/>
                  <a:gd name="T55" fmla="*/ 8 h 250"/>
                  <a:gd name="T56" fmla="*/ 37 w 111"/>
                  <a:gd name="T57" fmla="*/ 0 h 250"/>
                  <a:gd name="T58" fmla="*/ 23 w 111"/>
                  <a:gd name="T59" fmla="*/ 0 h 250"/>
                  <a:gd name="T60" fmla="*/ 0 w 111"/>
                  <a:gd name="T61" fmla="*/ 12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1" h="250">
                    <a:moveTo>
                      <a:pt x="0" y="12"/>
                    </a:moveTo>
                    <a:lnTo>
                      <a:pt x="8" y="35"/>
                    </a:lnTo>
                    <a:lnTo>
                      <a:pt x="34" y="44"/>
                    </a:lnTo>
                    <a:lnTo>
                      <a:pt x="36" y="53"/>
                    </a:lnTo>
                    <a:lnTo>
                      <a:pt x="32" y="69"/>
                    </a:lnTo>
                    <a:lnTo>
                      <a:pt x="42" y="80"/>
                    </a:lnTo>
                    <a:lnTo>
                      <a:pt x="64" y="113"/>
                    </a:lnTo>
                    <a:lnTo>
                      <a:pt x="77" y="122"/>
                    </a:lnTo>
                    <a:lnTo>
                      <a:pt x="77" y="151"/>
                    </a:lnTo>
                    <a:lnTo>
                      <a:pt x="83" y="156"/>
                    </a:lnTo>
                    <a:lnTo>
                      <a:pt x="85" y="183"/>
                    </a:lnTo>
                    <a:lnTo>
                      <a:pt x="75" y="191"/>
                    </a:lnTo>
                    <a:lnTo>
                      <a:pt x="61" y="205"/>
                    </a:lnTo>
                    <a:lnTo>
                      <a:pt x="47" y="215"/>
                    </a:lnTo>
                    <a:lnTo>
                      <a:pt x="53" y="224"/>
                    </a:lnTo>
                    <a:lnTo>
                      <a:pt x="46" y="234"/>
                    </a:lnTo>
                    <a:lnTo>
                      <a:pt x="51" y="249"/>
                    </a:lnTo>
                    <a:lnTo>
                      <a:pt x="77" y="230"/>
                    </a:lnTo>
                    <a:lnTo>
                      <a:pt x="100" y="209"/>
                    </a:lnTo>
                    <a:lnTo>
                      <a:pt x="106" y="201"/>
                    </a:lnTo>
                    <a:lnTo>
                      <a:pt x="110" y="163"/>
                    </a:lnTo>
                    <a:lnTo>
                      <a:pt x="102" y="131"/>
                    </a:lnTo>
                    <a:lnTo>
                      <a:pt x="81" y="108"/>
                    </a:lnTo>
                    <a:lnTo>
                      <a:pt x="57" y="80"/>
                    </a:lnTo>
                    <a:lnTo>
                      <a:pt x="57" y="59"/>
                    </a:lnTo>
                    <a:lnTo>
                      <a:pt x="63" y="52"/>
                    </a:lnTo>
                    <a:lnTo>
                      <a:pt x="81" y="38"/>
                    </a:lnTo>
                    <a:lnTo>
                      <a:pt x="60" y="8"/>
                    </a:lnTo>
                    <a:lnTo>
                      <a:pt x="37" y="0"/>
                    </a:lnTo>
                    <a:lnTo>
                      <a:pt x="23" y="0"/>
                    </a:lnTo>
                    <a:lnTo>
                      <a:pt x="0" y="1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8" name="Freeform 205">
                <a:extLst>
                  <a:ext uri="{FF2B5EF4-FFF2-40B4-BE49-F238E27FC236}">
                    <a16:creationId xmlns:a16="http://schemas.microsoft.com/office/drawing/2014/main" id="{91E4E863-9E0F-4D26-B7EE-5A7E61C854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7" y="3048"/>
                <a:ext cx="161" cy="143"/>
              </a:xfrm>
              <a:custGeom>
                <a:avLst/>
                <a:gdLst>
                  <a:gd name="T0" fmla="*/ 124 w 144"/>
                  <a:gd name="T1" fmla="*/ 24 h 128"/>
                  <a:gd name="T2" fmla="*/ 110 w 144"/>
                  <a:gd name="T3" fmla="*/ 19 h 128"/>
                  <a:gd name="T4" fmla="*/ 80 w 144"/>
                  <a:gd name="T5" fmla="*/ 6 h 128"/>
                  <a:gd name="T6" fmla="*/ 71 w 144"/>
                  <a:gd name="T7" fmla="*/ 0 h 128"/>
                  <a:gd name="T8" fmla="*/ 55 w 144"/>
                  <a:gd name="T9" fmla="*/ 3 h 128"/>
                  <a:gd name="T10" fmla="*/ 40 w 144"/>
                  <a:gd name="T11" fmla="*/ 19 h 128"/>
                  <a:gd name="T12" fmla="*/ 22 w 144"/>
                  <a:gd name="T13" fmla="*/ 29 h 128"/>
                  <a:gd name="T14" fmla="*/ 6 w 144"/>
                  <a:gd name="T15" fmla="*/ 32 h 128"/>
                  <a:gd name="T16" fmla="*/ 0 w 144"/>
                  <a:gd name="T17" fmla="*/ 34 h 128"/>
                  <a:gd name="T18" fmla="*/ 6 w 144"/>
                  <a:gd name="T19" fmla="*/ 45 h 128"/>
                  <a:gd name="T20" fmla="*/ 21 w 144"/>
                  <a:gd name="T21" fmla="*/ 43 h 128"/>
                  <a:gd name="T22" fmla="*/ 41 w 144"/>
                  <a:gd name="T23" fmla="*/ 54 h 128"/>
                  <a:gd name="T24" fmla="*/ 55 w 144"/>
                  <a:gd name="T25" fmla="*/ 62 h 128"/>
                  <a:gd name="T26" fmla="*/ 69 w 144"/>
                  <a:gd name="T27" fmla="*/ 75 h 128"/>
                  <a:gd name="T28" fmla="*/ 69 w 144"/>
                  <a:gd name="T29" fmla="*/ 92 h 128"/>
                  <a:gd name="T30" fmla="*/ 66 w 144"/>
                  <a:gd name="T31" fmla="*/ 98 h 128"/>
                  <a:gd name="T32" fmla="*/ 53 w 144"/>
                  <a:gd name="T33" fmla="*/ 103 h 128"/>
                  <a:gd name="T34" fmla="*/ 56 w 144"/>
                  <a:gd name="T35" fmla="*/ 116 h 128"/>
                  <a:gd name="T36" fmla="*/ 74 w 144"/>
                  <a:gd name="T37" fmla="*/ 114 h 128"/>
                  <a:gd name="T38" fmla="*/ 92 w 144"/>
                  <a:gd name="T39" fmla="*/ 114 h 128"/>
                  <a:gd name="T40" fmla="*/ 99 w 144"/>
                  <a:gd name="T41" fmla="*/ 122 h 128"/>
                  <a:gd name="T42" fmla="*/ 111 w 144"/>
                  <a:gd name="T43" fmla="*/ 127 h 128"/>
                  <a:gd name="T44" fmla="*/ 128 w 144"/>
                  <a:gd name="T45" fmla="*/ 120 h 128"/>
                  <a:gd name="T46" fmla="*/ 135 w 144"/>
                  <a:gd name="T47" fmla="*/ 107 h 128"/>
                  <a:gd name="T48" fmla="*/ 143 w 144"/>
                  <a:gd name="T49" fmla="*/ 97 h 128"/>
                  <a:gd name="T50" fmla="*/ 124 w 144"/>
                  <a:gd name="T51" fmla="*/ 24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4" h="128">
                    <a:moveTo>
                      <a:pt x="124" y="24"/>
                    </a:moveTo>
                    <a:lnTo>
                      <a:pt x="110" y="19"/>
                    </a:lnTo>
                    <a:lnTo>
                      <a:pt x="80" y="6"/>
                    </a:lnTo>
                    <a:lnTo>
                      <a:pt x="71" y="0"/>
                    </a:lnTo>
                    <a:lnTo>
                      <a:pt x="55" y="3"/>
                    </a:lnTo>
                    <a:lnTo>
                      <a:pt x="40" y="19"/>
                    </a:lnTo>
                    <a:lnTo>
                      <a:pt x="22" y="29"/>
                    </a:lnTo>
                    <a:lnTo>
                      <a:pt x="6" y="32"/>
                    </a:lnTo>
                    <a:lnTo>
                      <a:pt x="0" y="34"/>
                    </a:lnTo>
                    <a:lnTo>
                      <a:pt x="6" y="45"/>
                    </a:lnTo>
                    <a:lnTo>
                      <a:pt x="21" y="43"/>
                    </a:lnTo>
                    <a:lnTo>
                      <a:pt x="41" y="54"/>
                    </a:lnTo>
                    <a:lnTo>
                      <a:pt x="55" y="62"/>
                    </a:lnTo>
                    <a:lnTo>
                      <a:pt x="69" y="75"/>
                    </a:lnTo>
                    <a:lnTo>
                      <a:pt x="69" y="92"/>
                    </a:lnTo>
                    <a:lnTo>
                      <a:pt x="66" y="98"/>
                    </a:lnTo>
                    <a:lnTo>
                      <a:pt x="53" y="103"/>
                    </a:lnTo>
                    <a:lnTo>
                      <a:pt x="56" y="116"/>
                    </a:lnTo>
                    <a:lnTo>
                      <a:pt x="74" y="114"/>
                    </a:lnTo>
                    <a:lnTo>
                      <a:pt x="92" y="114"/>
                    </a:lnTo>
                    <a:lnTo>
                      <a:pt x="99" y="122"/>
                    </a:lnTo>
                    <a:lnTo>
                      <a:pt x="111" y="127"/>
                    </a:lnTo>
                    <a:lnTo>
                      <a:pt x="128" y="120"/>
                    </a:lnTo>
                    <a:lnTo>
                      <a:pt x="135" y="107"/>
                    </a:lnTo>
                    <a:lnTo>
                      <a:pt x="143" y="97"/>
                    </a:lnTo>
                    <a:lnTo>
                      <a:pt x="124" y="2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9" name="Freeform 206">
                <a:extLst>
                  <a:ext uri="{FF2B5EF4-FFF2-40B4-BE49-F238E27FC236}">
                    <a16:creationId xmlns:a16="http://schemas.microsoft.com/office/drawing/2014/main" id="{E7C3116C-F65B-4A7E-A2B9-DB510A3A7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3" y="3033"/>
                <a:ext cx="43" cy="29"/>
              </a:xfrm>
              <a:custGeom>
                <a:avLst/>
                <a:gdLst>
                  <a:gd name="T0" fmla="*/ 14 w 38"/>
                  <a:gd name="T1" fmla="*/ 24 h 26"/>
                  <a:gd name="T2" fmla="*/ 0 w 38"/>
                  <a:gd name="T3" fmla="*/ 25 h 26"/>
                  <a:gd name="T4" fmla="*/ 3 w 38"/>
                  <a:gd name="T5" fmla="*/ 13 h 26"/>
                  <a:gd name="T6" fmla="*/ 9 w 38"/>
                  <a:gd name="T7" fmla="*/ 0 h 26"/>
                  <a:gd name="T8" fmla="*/ 24 w 38"/>
                  <a:gd name="T9" fmla="*/ 3 h 26"/>
                  <a:gd name="T10" fmla="*/ 37 w 38"/>
                  <a:gd name="T11" fmla="*/ 6 h 26"/>
                  <a:gd name="T12" fmla="*/ 33 w 38"/>
                  <a:gd name="T13" fmla="*/ 16 h 26"/>
                  <a:gd name="T14" fmla="*/ 23 w 38"/>
                  <a:gd name="T15" fmla="*/ 25 h 26"/>
                  <a:gd name="T16" fmla="*/ 14 w 38"/>
                  <a:gd name="T17" fmla="*/ 2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26">
                    <a:moveTo>
                      <a:pt x="14" y="24"/>
                    </a:moveTo>
                    <a:lnTo>
                      <a:pt x="0" y="25"/>
                    </a:lnTo>
                    <a:lnTo>
                      <a:pt x="3" y="13"/>
                    </a:lnTo>
                    <a:lnTo>
                      <a:pt x="9" y="0"/>
                    </a:lnTo>
                    <a:lnTo>
                      <a:pt x="24" y="3"/>
                    </a:lnTo>
                    <a:lnTo>
                      <a:pt x="37" y="6"/>
                    </a:lnTo>
                    <a:lnTo>
                      <a:pt x="33" y="16"/>
                    </a:lnTo>
                    <a:lnTo>
                      <a:pt x="23" y="25"/>
                    </a:lnTo>
                    <a:lnTo>
                      <a:pt x="14" y="2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70" name="Freeform 207">
                <a:extLst>
                  <a:ext uri="{FF2B5EF4-FFF2-40B4-BE49-F238E27FC236}">
                    <a16:creationId xmlns:a16="http://schemas.microsoft.com/office/drawing/2014/main" id="{A09BA81B-66DA-4358-B80A-6B79BBB154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1" y="2257"/>
                <a:ext cx="323" cy="292"/>
              </a:xfrm>
              <a:custGeom>
                <a:avLst/>
                <a:gdLst>
                  <a:gd name="T0" fmla="*/ 0 w 286"/>
                  <a:gd name="T1" fmla="*/ 6 h 261"/>
                  <a:gd name="T2" fmla="*/ 14 w 286"/>
                  <a:gd name="T3" fmla="*/ 43 h 261"/>
                  <a:gd name="T4" fmla="*/ 20 w 286"/>
                  <a:gd name="T5" fmla="*/ 73 h 261"/>
                  <a:gd name="T6" fmla="*/ 32 w 286"/>
                  <a:gd name="T7" fmla="*/ 92 h 261"/>
                  <a:gd name="T8" fmla="*/ 22 w 286"/>
                  <a:gd name="T9" fmla="*/ 114 h 261"/>
                  <a:gd name="T10" fmla="*/ 39 w 286"/>
                  <a:gd name="T11" fmla="*/ 133 h 261"/>
                  <a:gd name="T12" fmla="*/ 59 w 286"/>
                  <a:gd name="T13" fmla="*/ 133 h 261"/>
                  <a:gd name="T14" fmla="*/ 56 w 286"/>
                  <a:gd name="T15" fmla="*/ 159 h 261"/>
                  <a:gd name="T16" fmla="*/ 66 w 286"/>
                  <a:gd name="T17" fmla="*/ 176 h 261"/>
                  <a:gd name="T18" fmla="*/ 87 w 286"/>
                  <a:gd name="T19" fmla="*/ 180 h 261"/>
                  <a:gd name="T20" fmla="*/ 94 w 286"/>
                  <a:gd name="T21" fmla="*/ 187 h 261"/>
                  <a:gd name="T22" fmla="*/ 111 w 286"/>
                  <a:gd name="T23" fmla="*/ 212 h 261"/>
                  <a:gd name="T24" fmla="*/ 122 w 286"/>
                  <a:gd name="T25" fmla="*/ 221 h 261"/>
                  <a:gd name="T26" fmla="*/ 174 w 286"/>
                  <a:gd name="T27" fmla="*/ 235 h 261"/>
                  <a:gd name="T28" fmla="*/ 189 w 286"/>
                  <a:gd name="T29" fmla="*/ 227 h 261"/>
                  <a:gd name="T30" fmla="*/ 209 w 286"/>
                  <a:gd name="T31" fmla="*/ 260 h 261"/>
                  <a:gd name="T32" fmla="*/ 261 w 286"/>
                  <a:gd name="T33" fmla="*/ 260 h 261"/>
                  <a:gd name="T34" fmla="*/ 277 w 286"/>
                  <a:gd name="T35" fmla="*/ 242 h 261"/>
                  <a:gd name="T36" fmla="*/ 280 w 286"/>
                  <a:gd name="T37" fmla="*/ 223 h 261"/>
                  <a:gd name="T38" fmla="*/ 265 w 286"/>
                  <a:gd name="T39" fmla="*/ 205 h 261"/>
                  <a:gd name="T40" fmla="*/ 249 w 286"/>
                  <a:gd name="T41" fmla="*/ 184 h 261"/>
                  <a:gd name="T42" fmla="*/ 252 w 286"/>
                  <a:gd name="T43" fmla="*/ 156 h 261"/>
                  <a:gd name="T44" fmla="*/ 238 w 286"/>
                  <a:gd name="T45" fmla="*/ 121 h 261"/>
                  <a:gd name="T46" fmla="*/ 240 w 286"/>
                  <a:gd name="T47" fmla="*/ 66 h 261"/>
                  <a:gd name="T48" fmla="*/ 197 w 286"/>
                  <a:gd name="T49" fmla="*/ 40 h 261"/>
                  <a:gd name="T50" fmla="*/ 156 w 286"/>
                  <a:gd name="T51" fmla="*/ 33 h 261"/>
                  <a:gd name="T52" fmla="*/ 135 w 286"/>
                  <a:gd name="T53" fmla="*/ 52 h 261"/>
                  <a:gd name="T54" fmla="*/ 112 w 286"/>
                  <a:gd name="T55" fmla="*/ 65 h 261"/>
                  <a:gd name="T56" fmla="*/ 79 w 286"/>
                  <a:gd name="T57" fmla="*/ 50 h 261"/>
                  <a:gd name="T58" fmla="*/ 60 w 286"/>
                  <a:gd name="T59" fmla="*/ 21 h 261"/>
                  <a:gd name="T60" fmla="*/ 46 w 286"/>
                  <a:gd name="T61" fmla="*/ 8 h 261"/>
                  <a:gd name="T62" fmla="*/ 24 w 286"/>
                  <a:gd name="T63" fmla="*/ 20 h 261"/>
                  <a:gd name="T64" fmla="*/ 5 w 286"/>
                  <a:gd name="T65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86" h="261">
                    <a:moveTo>
                      <a:pt x="5" y="0"/>
                    </a:moveTo>
                    <a:lnTo>
                      <a:pt x="0" y="6"/>
                    </a:lnTo>
                    <a:lnTo>
                      <a:pt x="6" y="25"/>
                    </a:lnTo>
                    <a:lnTo>
                      <a:pt x="14" y="43"/>
                    </a:lnTo>
                    <a:lnTo>
                      <a:pt x="17" y="62"/>
                    </a:lnTo>
                    <a:lnTo>
                      <a:pt x="20" y="73"/>
                    </a:lnTo>
                    <a:lnTo>
                      <a:pt x="35" y="76"/>
                    </a:lnTo>
                    <a:lnTo>
                      <a:pt x="32" y="92"/>
                    </a:lnTo>
                    <a:lnTo>
                      <a:pt x="22" y="99"/>
                    </a:lnTo>
                    <a:lnTo>
                      <a:pt x="22" y="114"/>
                    </a:lnTo>
                    <a:lnTo>
                      <a:pt x="36" y="120"/>
                    </a:lnTo>
                    <a:lnTo>
                      <a:pt x="39" y="133"/>
                    </a:lnTo>
                    <a:lnTo>
                      <a:pt x="48" y="135"/>
                    </a:lnTo>
                    <a:lnTo>
                      <a:pt x="59" y="133"/>
                    </a:lnTo>
                    <a:lnTo>
                      <a:pt x="61" y="145"/>
                    </a:lnTo>
                    <a:lnTo>
                      <a:pt x="56" y="159"/>
                    </a:lnTo>
                    <a:lnTo>
                      <a:pt x="64" y="162"/>
                    </a:lnTo>
                    <a:lnTo>
                      <a:pt x="66" y="176"/>
                    </a:lnTo>
                    <a:lnTo>
                      <a:pt x="72" y="183"/>
                    </a:lnTo>
                    <a:lnTo>
                      <a:pt x="87" y="180"/>
                    </a:lnTo>
                    <a:lnTo>
                      <a:pt x="87" y="173"/>
                    </a:lnTo>
                    <a:lnTo>
                      <a:pt x="94" y="187"/>
                    </a:lnTo>
                    <a:lnTo>
                      <a:pt x="98" y="207"/>
                    </a:lnTo>
                    <a:lnTo>
                      <a:pt x="111" y="212"/>
                    </a:lnTo>
                    <a:lnTo>
                      <a:pt x="109" y="220"/>
                    </a:lnTo>
                    <a:lnTo>
                      <a:pt x="122" y="221"/>
                    </a:lnTo>
                    <a:lnTo>
                      <a:pt x="130" y="233"/>
                    </a:lnTo>
                    <a:lnTo>
                      <a:pt x="174" y="235"/>
                    </a:lnTo>
                    <a:lnTo>
                      <a:pt x="180" y="223"/>
                    </a:lnTo>
                    <a:lnTo>
                      <a:pt x="189" y="227"/>
                    </a:lnTo>
                    <a:lnTo>
                      <a:pt x="193" y="250"/>
                    </a:lnTo>
                    <a:lnTo>
                      <a:pt x="209" y="260"/>
                    </a:lnTo>
                    <a:lnTo>
                      <a:pt x="252" y="257"/>
                    </a:lnTo>
                    <a:lnTo>
                      <a:pt x="261" y="260"/>
                    </a:lnTo>
                    <a:lnTo>
                      <a:pt x="265" y="246"/>
                    </a:lnTo>
                    <a:lnTo>
                      <a:pt x="277" y="242"/>
                    </a:lnTo>
                    <a:lnTo>
                      <a:pt x="285" y="231"/>
                    </a:lnTo>
                    <a:lnTo>
                      <a:pt x="280" y="223"/>
                    </a:lnTo>
                    <a:lnTo>
                      <a:pt x="269" y="221"/>
                    </a:lnTo>
                    <a:lnTo>
                      <a:pt x="265" y="205"/>
                    </a:lnTo>
                    <a:lnTo>
                      <a:pt x="249" y="198"/>
                    </a:lnTo>
                    <a:lnTo>
                      <a:pt x="249" y="184"/>
                    </a:lnTo>
                    <a:lnTo>
                      <a:pt x="257" y="173"/>
                    </a:lnTo>
                    <a:lnTo>
                      <a:pt x="252" y="156"/>
                    </a:lnTo>
                    <a:lnTo>
                      <a:pt x="235" y="156"/>
                    </a:lnTo>
                    <a:lnTo>
                      <a:pt x="238" y="121"/>
                    </a:lnTo>
                    <a:lnTo>
                      <a:pt x="235" y="99"/>
                    </a:lnTo>
                    <a:lnTo>
                      <a:pt x="240" y="66"/>
                    </a:lnTo>
                    <a:lnTo>
                      <a:pt x="220" y="56"/>
                    </a:lnTo>
                    <a:lnTo>
                      <a:pt x="197" y="40"/>
                    </a:lnTo>
                    <a:lnTo>
                      <a:pt x="182" y="38"/>
                    </a:lnTo>
                    <a:lnTo>
                      <a:pt x="156" y="33"/>
                    </a:lnTo>
                    <a:lnTo>
                      <a:pt x="149" y="46"/>
                    </a:lnTo>
                    <a:lnTo>
                      <a:pt x="135" y="52"/>
                    </a:lnTo>
                    <a:lnTo>
                      <a:pt x="120" y="58"/>
                    </a:lnTo>
                    <a:lnTo>
                      <a:pt x="112" y="65"/>
                    </a:lnTo>
                    <a:lnTo>
                      <a:pt x="94" y="62"/>
                    </a:lnTo>
                    <a:lnTo>
                      <a:pt x="79" y="50"/>
                    </a:lnTo>
                    <a:lnTo>
                      <a:pt x="64" y="40"/>
                    </a:lnTo>
                    <a:lnTo>
                      <a:pt x="60" y="21"/>
                    </a:lnTo>
                    <a:lnTo>
                      <a:pt x="54" y="3"/>
                    </a:lnTo>
                    <a:lnTo>
                      <a:pt x="46" y="8"/>
                    </a:lnTo>
                    <a:lnTo>
                      <a:pt x="42" y="20"/>
                    </a:lnTo>
                    <a:lnTo>
                      <a:pt x="24" y="20"/>
                    </a:lnTo>
                    <a:lnTo>
                      <a:pt x="17" y="8"/>
                    </a:lnTo>
                    <a:lnTo>
                      <a:pt x="5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71" name="Freeform 208">
                <a:extLst>
                  <a:ext uri="{FF2B5EF4-FFF2-40B4-BE49-F238E27FC236}">
                    <a16:creationId xmlns:a16="http://schemas.microsoft.com/office/drawing/2014/main" id="{0F36442B-16F8-4EDB-A6CB-241287345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" y="2560"/>
                <a:ext cx="122" cy="158"/>
              </a:xfrm>
              <a:custGeom>
                <a:avLst/>
                <a:gdLst>
                  <a:gd name="T0" fmla="*/ 38 w 109"/>
                  <a:gd name="T1" fmla="*/ 34 h 141"/>
                  <a:gd name="T2" fmla="*/ 51 w 109"/>
                  <a:gd name="T3" fmla="*/ 52 h 141"/>
                  <a:gd name="T4" fmla="*/ 41 w 109"/>
                  <a:gd name="T5" fmla="*/ 92 h 141"/>
                  <a:gd name="T6" fmla="*/ 0 w 109"/>
                  <a:gd name="T7" fmla="*/ 99 h 141"/>
                  <a:gd name="T8" fmla="*/ 6 w 109"/>
                  <a:gd name="T9" fmla="*/ 118 h 141"/>
                  <a:gd name="T10" fmla="*/ 15 w 109"/>
                  <a:gd name="T11" fmla="*/ 140 h 141"/>
                  <a:gd name="T12" fmla="*/ 40 w 109"/>
                  <a:gd name="T13" fmla="*/ 136 h 141"/>
                  <a:gd name="T14" fmla="*/ 48 w 109"/>
                  <a:gd name="T15" fmla="*/ 121 h 141"/>
                  <a:gd name="T16" fmla="*/ 61 w 109"/>
                  <a:gd name="T17" fmla="*/ 118 h 141"/>
                  <a:gd name="T18" fmla="*/ 68 w 109"/>
                  <a:gd name="T19" fmla="*/ 109 h 141"/>
                  <a:gd name="T20" fmla="*/ 84 w 109"/>
                  <a:gd name="T21" fmla="*/ 105 h 141"/>
                  <a:gd name="T22" fmla="*/ 87 w 109"/>
                  <a:gd name="T23" fmla="*/ 78 h 141"/>
                  <a:gd name="T24" fmla="*/ 93 w 109"/>
                  <a:gd name="T25" fmla="*/ 67 h 141"/>
                  <a:gd name="T26" fmla="*/ 104 w 109"/>
                  <a:gd name="T27" fmla="*/ 61 h 141"/>
                  <a:gd name="T28" fmla="*/ 108 w 109"/>
                  <a:gd name="T29" fmla="*/ 34 h 141"/>
                  <a:gd name="T30" fmla="*/ 96 w 109"/>
                  <a:gd name="T31" fmla="*/ 30 h 141"/>
                  <a:gd name="T32" fmla="*/ 95 w 109"/>
                  <a:gd name="T33" fmla="*/ 16 h 141"/>
                  <a:gd name="T34" fmla="*/ 69 w 109"/>
                  <a:gd name="T35" fmla="*/ 12 h 141"/>
                  <a:gd name="T36" fmla="*/ 59 w 109"/>
                  <a:gd name="T37" fmla="*/ 0 h 141"/>
                  <a:gd name="T38" fmla="*/ 38 w 109"/>
                  <a:gd name="T39" fmla="*/ 34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9" h="141">
                    <a:moveTo>
                      <a:pt x="38" y="34"/>
                    </a:moveTo>
                    <a:lnTo>
                      <a:pt x="51" y="52"/>
                    </a:lnTo>
                    <a:lnTo>
                      <a:pt x="41" y="92"/>
                    </a:lnTo>
                    <a:lnTo>
                      <a:pt x="0" y="99"/>
                    </a:lnTo>
                    <a:lnTo>
                      <a:pt x="6" y="118"/>
                    </a:lnTo>
                    <a:lnTo>
                      <a:pt x="15" y="140"/>
                    </a:lnTo>
                    <a:lnTo>
                      <a:pt x="40" y="136"/>
                    </a:lnTo>
                    <a:lnTo>
                      <a:pt x="48" y="121"/>
                    </a:lnTo>
                    <a:lnTo>
                      <a:pt x="61" y="118"/>
                    </a:lnTo>
                    <a:lnTo>
                      <a:pt x="68" y="109"/>
                    </a:lnTo>
                    <a:lnTo>
                      <a:pt x="84" y="105"/>
                    </a:lnTo>
                    <a:lnTo>
                      <a:pt x="87" y="78"/>
                    </a:lnTo>
                    <a:lnTo>
                      <a:pt x="93" y="67"/>
                    </a:lnTo>
                    <a:lnTo>
                      <a:pt x="104" y="61"/>
                    </a:lnTo>
                    <a:lnTo>
                      <a:pt x="108" y="34"/>
                    </a:lnTo>
                    <a:lnTo>
                      <a:pt x="96" y="30"/>
                    </a:lnTo>
                    <a:lnTo>
                      <a:pt x="95" y="16"/>
                    </a:lnTo>
                    <a:lnTo>
                      <a:pt x="69" y="12"/>
                    </a:lnTo>
                    <a:lnTo>
                      <a:pt x="59" y="0"/>
                    </a:lnTo>
                    <a:lnTo>
                      <a:pt x="38" y="3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72" name="Freeform 209">
                <a:extLst>
                  <a:ext uri="{FF2B5EF4-FFF2-40B4-BE49-F238E27FC236}">
                    <a16:creationId xmlns:a16="http://schemas.microsoft.com/office/drawing/2014/main" id="{FD4CDD03-58FC-433C-8F4B-45923DFA89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6" y="2315"/>
                <a:ext cx="161" cy="179"/>
              </a:xfrm>
              <a:custGeom>
                <a:avLst/>
                <a:gdLst>
                  <a:gd name="T0" fmla="*/ 109 w 143"/>
                  <a:gd name="T1" fmla="*/ 160 h 161"/>
                  <a:gd name="T2" fmla="*/ 100 w 143"/>
                  <a:gd name="T3" fmla="*/ 155 h 161"/>
                  <a:gd name="T4" fmla="*/ 84 w 143"/>
                  <a:gd name="T5" fmla="*/ 145 h 161"/>
                  <a:gd name="T6" fmla="*/ 71 w 143"/>
                  <a:gd name="T7" fmla="*/ 122 h 161"/>
                  <a:gd name="T8" fmla="*/ 60 w 143"/>
                  <a:gd name="T9" fmla="*/ 119 h 161"/>
                  <a:gd name="T10" fmla="*/ 50 w 143"/>
                  <a:gd name="T11" fmla="*/ 102 h 161"/>
                  <a:gd name="T12" fmla="*/ 34 w 143"/>
                  <a:gd name="T13" fmla="*/ 103 h 161"/>
                  <a:gd name="T14" fmla="*/ 24 w 143"/>
                  <a:gd name="T15" fmla="*/ 96 h 161"/>
                  <a:gd name="T16" fmla="*/ 14 w 143"/>
                  <a:gd name="T17" fmla="*/ 88 h 161"/>
                  <a:gd name="T18" fmla="*/ 9 w 143"/>
                  <a:gd name="T19" fmla="*/ 90 h 161"/>
                  <a:gd name="T20" fmla="*/ 0 w 143"/>
                  <a:gd name="T21" fmla="*/ 74 h 161"/>
                  <a:gd name="T22" fmla="*/ 15 w 143"/>
                  <a:gd name="T23" fmla="*/ 66 h 161"/>
                  <a:gd name="T24" fmla="*/ 34 w 143"/>
                  <a:gd name="T25" fmla="*/ 54 h 161"/>
                  <a:gd name="T26" fmla="*/ 37 w 143"/>
                  <a:gd name="T27" fmla="*/ 41 h 161"/>
                  <a:gd name="T28" fmla="*/ 37 w 143"/>
                  <a:gd name="T29" fmla="*/ 21 h 161"/>
                  <a:gd name="T30" fmla="*/ 47 w 143"/>
                  <a:gd name="T31" fmla="*/ 12 h 161"/>
                  <a:gd name="T32" fmla="*/ 55 w 143"/>
                  <a:gd name="T33" fmla="*/ 3 h 161"/>
                  <a:gd name="T34" fmla="*/ 70 w 143"/>
                  <a:gd name="T35" fmla="*/ 0 h 161"/>
                  <a:gd name="T36" fmla="*/ 76 w 143"/>
                  <a:gd name="T37" fmla="*/ 10 h 161"/>
                  <a:gd name="T38" fmla="*/ 93 w 143"/>
                  <a:gd name="T39" fmla="*/ 11 h 161"/>
                  <a:gd name="T40" fmla="*/ 96 w 143"/>
                  <a:gd name="T41" fmla="*/ 22 h 161"/>
                  <a:gd name="T42" fmla="*/ 111 w 143"/>
                  <a:gd name="T43" fmla="*/ 25 h 161"/>
                  <a:gd name="T44" fmla="*/ 108 w 143"/>
                  <a:gd name="T45" fmla="*/ 41 h 161"/>
                  <a:gd name="T46" fmla="*/ 98 w 143"/>
                  <a:gd name="T47" fmla="*/ 47 h 161"/>
                  <a:gd name="T48" fmla="*/ 98 w 143"/>
                  <a:gd name="T49" fmla="*/ 63 h 161"/>
                  <a:gd name="T50" fmla="*/ 111 w 143"/>
                  <a:gd name="T51" fmla="*/ 69 h 161"/>
                  <a:gd name="T52" fmla="*/ 115 w 143"/>
                  <a:gd name="T53" fmla="*/ 81 h 161"/>
                  <a:gd name="T54" fmla="*/ 124 w 143"/>
                  <a:gd name="T55" fmla="*/ 84 h 161"/>
                  <a:gd name="T56" fmla="*/ 134 w 143"/>
                  <a:gd name="T57" fmla="*/ 81 h 161"/>
                  <a:gd name="T58" fmla="*/ 137 w 143"/>
                  <a:gd name="T59" fmla="*/ 94 h 161"/>
                  <a:gd name="T60" fmla="*/ 132 w 143"/>
                  <a:gd name="T61" fmla="*/ 108 h 161"/>
                  <a:gd name="T62" fmla="*/ 140 w 143"/>
                  <a:gd name="T63" fmla="*/ 111 h 161"/>
                  <a:gd name="T64" fmla="*/ 142 w 143"/>
                  <a:gd name="T65" fmla="*/ 124 h 161"/>
                  <a:gd name="T66" fmla="*/ 129 w 143"/>
                  <a:gd name="T67" fmla="*/ 129 h 161"/>
                  <a:gd name="T68" fmla="*/ 121 w 143"/>
                  <a:gd name="T69" fmla="*/ 131 h 161"/>
                  <a:gd name="T70" fmla="*/ 119 w 143"/>
                  <a:gd name="T71" fmla="*/ 152 h 161"/>
                  <a:gd name="T72" fmla="*/ 109 w 143"/>
                  <a:gd name="T73" fmla="*/ 16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3" h="161">
                    <a:moveTo>
                      <a:pt x="109" y="160"/>
                    </a:moveTo>
                    <a:lnTo>
                      <a:pt x="100" y="155"/>
                    </a:lnTo>
                    <a:lnTo>
                      <a:pt x="84" y="145"/>
                    </a:lnTo>
                    <a:lnTo>
                      <a:pt x="71" y="122"/>
                    </a:lnTo>
                    <a:lnTo>
                      <a:pt x="60" y="119"/>
                    </a:lnTo>
                    <a:lnTo>
                      <a:pt x="50" y="102"/>
                    </a:lnTo>
                    <a:lnTo>
                      <a:pt x="34" y="103"/>
                    </a:lnTo>
                    <a:lnTo>
                      <a:pt x="24" y="96"/>
                    </a:lnTo>
                    <a:lnTo>
                      <a:pt x="14" y="88"/>
                    </a:lnTo>
                    <a:lnTo>
                      <a:pt x="9" y="90"/>
                    </a:lnTo>
                    <a:lnTo>
                      <a:pt x="0" y="74"/>
                    </a:lnTo>
                    <a:lnTo>
                      <a:pt x="15" y="66"/>
                    </a:lnTo>
                    <a:lnTo>
                      <a:pt x="34" y="54"/>
                    </a:lnTo>
                    <a:lnTo>
                      <a:pt x="37" y="41"/>
                    </a:lnTo>
                    <a:lnTo>
                      <a:pt x="37" y="21"/>
                    </a:lnTo>
                    <a:lnTo>
                      <a:pt x="47" y="12"/>
                    </a:lnTo>
                    <a:lnTo>
                      <a:pt x="55" y="3"/>
                    </a:lnTo>
                    <a:lnTo>
                      <a:pt x="70" y="0"/>
                    </a:lnTo>
                    <a:lnTo>
                      <a:pt x="76" y="10"/>
                    </a:lnTo>
                    <a:lnTo>
                      <a:pt x="93" y="11"/>
                    </a:lnTo>
                    <a:lnTo>
                      <a:pt x="96" y="22"/>
                    </a:lnTo>
                    <a:lnTo>
                      <a:pt x="111" y="25"/>
                    </a:lnTo>
                    <a:lnTo>
                      <a:pt x="108" y="41"/>
                    </a:lnTo>
                    <a:lnTo>
                      <a:pt x="98" y="47"/>
                    </a:lnTo>
                    <a:lnTo>
                      <a:pt x="98" y="63"/>
                    </a:lnTo>
                    <a:lnTo>
                      <a:pt x="111" y="69"/>
                    </a:lnTo>
                    <a:lnTo>
                      <a:pt x="115" y="81"/>
                    </a:lnTo>
                    <a:lnTo>
                      <a:pt x="124" y="84"/>
                    </a:lnTo>
                    <a:lnTo>
                      <a:pt x="134" y="81"/>
                    </a:lnTo>
                    <a:lnTo>
                      <a:pt x="137" y="94"/>
                    </a:lnTo>
                    <a:lnTo>
                      <a:pt x="132" y="108"/>
                    </a:lnTo>
                    <a:lnTo>
                      <a:pt x="140" y="111"/>
                    </a:lnTo>
                    <a:lnTo>
                      <a:pt x="142" y="124"/>
                    </a:lnTo>
                    <a:lnTo>
                      <a:pt x="129" y="129"/>
                    </a:lnTo>
                    <a:lnTo>
                      <a:pt x="121" y="131"/>
                    </a:lnTo>
                    <a:lnTo>
                      <a:pt x="119" y="152"/>
                    </a:lnTo>
                    <a:lnTo>
                      <a:pt x="109" y="16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73" name="Freeform 210">
                <a:extLst>
                  <a:ext uri="{FF2B5EF4-FFF2-40B4-BE49-F238E27FC236}">
                    <a16:creationId xmlns:a16="http://schemas.microsoft.com/office/drawing/2014/main" id="{7B8B67BC-03B3-4DAA-A636-94B1B8430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8" y="2874"/>
                <a:ext cx="75" cy="82"/>
              </a:xfrm>
              <a:custGeom>
                <a:avLst/>
                <a:gdLst>
                  <a:gd name="T0" fmla="*/ 0 w 67"/>
                  <a:gd name="T1" fmla="*/ 26 h 74"/>
                  <a:gd name="T2" fmla="*/ 14 w 67"/>
                  <a:gd name="T3" fmla="*/ 0 h 74"/>
                  <a:gd name="T4" fmla="*/ 23 w 67"/>
                  <a:gd name="T5" fmla="*/ 17 h 74"/>
                  <a:gd name="T6" fmla="*/ 34 w 67"/>
                  <a:gd name="T7" fmla="*/ 20 h 74"/>
                  <a:gd name="T8" fmla="*/ 38 w 67"/>
                  <a:gd name="T9" fmla="*/ 34 h 74"/>
                  <a:gd name="T10" fmla="*/ 47 w 67"/>
                  <a:gd name="T11" fmla="*/ 36 h 74"/>
                  <a:gd name="T12" fmla="*/ 49 w 67"/>
                  <a:gd name="T13" fmla="*/ 53 h 74"/>
                  <a:gd name="T14" fmla="*/ 66 w 67"/>
                  <a:gd name="T15" fmla="*/ 59 h 74"/>
                  <a:gd name="T16" fmla="*/ 63 w 67"/>
                  <a:gd name="T17" fmla="*/ 67 h 74"/>
                  <a:gd name="T18" fmla="*/ 54 w 67"/>
                  <a:gd name="T19" fmla="*/ 73 h 74"/>
                  <a:gd name="T20" fmla="*/ 36 w 67"/>
                  <a:gd name="T21" fmla="*/ 68 h 74"/>
                  <a:gd name="T22" fmla="*/ 0 w 67"/>
                  <a:gd name="T23" fmla="*/ 2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" h="74">
                    <a:moveTo>
                      <a:pt x="0" y="26"/>
                    </a:moveTo>
                    <a:lnTo>
                      <a:pt x="14" y="0"/>
                    </a:lnTo>
                    <a:lnTo>
                      <a:pt x="23" y="17"/>
                    </a:lnTo>
                    <a:lnTo>
                      <a:pt x="34" y="20"/>
                    </a:lnTo>
                    <a:lnTo>
                      <a:pt x="38" y="34"/>
                    </a:lnTo>
                    <a:lnTo>
                      <a:pt x="47" y="36"/>
                    </a:lnTo>
                    <a:lnTo>
                      <a:pt x="49" y="53"/>
                    </a:lnTo>
                    <a:lnTo>
                      <a:pt x="66" y="59"/>
                    </a:lnTo>
                    <a:lnTo>
                      <a:pt x="63" y="67"/>
                    </a:lnTo>
                    <a:lnTo>
                      <a:pt x="54" y="73"/>
                    </a:lnTo>
                    <a:lnTo>
                      <a:pt x="36" y="68"/>
                    </a:lnTo>
                    <a:lnTo>
                      <a:pt x="0" y="26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74" name="Freeform 211">
                <a:extLst>
                  <a:ext uri="{FF2B5EF4-FFF2-40B4-BE49-F238E27FC236}">
                    <a16:creationId xmlns:a16="http://schemas.microsoft.com/office/drawing/2014/main" id="{D50D210C-1E0F-43EF-BF05-C416F4F671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9" y="2501"/>
                <a:ext cx="171" cy="258"/>
              </a:xfrm>
              <a:custGeom>
                <a:avLst/>
                <a:gdLst>
                  <a:gd name="T0" fmla="*/ 112 w 152"/>
                  <a:gd name="T1" fmla="*/ 0 h 229"/>
                  <a:gd name="T2" fmla="*/ 107 w 152"/>
                  <a:gd name="T3" fmla="*/ 20 h 229"/>
                  <a:gd name="T4" fmla="*/ 100 w 152"/>
                  <a:gd name="T5" fmla="*/ 29 h 229"/>
                  <a:gd name="T6" fmla="*/ 66 w 152"/>
                  <a:gd name="T7" fmla="*/ 31 h 229"/>
                  <a:gd name="T8" fmla="*/ 66 w 152"/>
                  <a:gd name="T9" fmla="*/ 81 h 229"/>
                  <a:gd name="T10" fmla="*/ 53 w 152"/>
                  <a:gd name="T11" fmla="*/ 76 h 229"/>
                  <a:gd name="T12" fmla="*/ 44 w 152"/>
                  <a:gd name="T13" fmla="*/ 84 h 229"/>
                  <a:gd name="T14" fmla="*/ 41 w 152"/>
                  <a:gd name="T15" fmla="*/ 97 h 229"/>
                  <a:gd name="T16" fmla="*/ 40 w 152"/>
                  <a:gd name="T17" fmla="*/ 118 h 229"/>
                  <a:gd name="T18" fmla="*/ 26 w 152"/>
                  <a:gd name="T19" fmla="*/ 118 h 229"/>
                  <a:gd name="T20" fmla="*/ 6 w 152"/>
                  <a:gd name="T21" fmla="*/ 115 h 229"/>
                  <a:gd name="T22" fmla="*/ 0 w 152"/>
                  <a:gd name="T23" fmla="*/ 113 h 229"/>
                  <a:gd name="T24" fmla="*/ 0 w 152"/>
                  <a:gd name="T25" fmla="*/ 156 h 229"/>
                  <a:gd name="T26" fmla="*/ 4 w 152"/>
                  <a:gd name="T27" fmla="*/ 162 h 229"/>
                  <a:gd name="T28" fmla="*/ 4 w 152"/>
                  <a:gd name="T29" fmla="*/ 195 h 229"/>
                  <a:gd name="T30" fmla="*/ 17 w 152"/>
                  <a:gd name="T31" fmla="*/ 192 h 229"/>
                  <a:gd name="T32" fmla="*/ 23 w 152"/>
                  <a:gd name="T33" fmla="*/ 201 h 229"/>
                  <a:gd name="T34" fmla="*/ 33 w 152"/>
                  <a:gd name="T35" fmla="*/ 205 h 229"/>
                  <a:gd name="T36" fmla="*/ 44 w 152"/>
                  <a:gd name="T37" fmla="*/ 220 h 229"/>
                  <a:gd name="T38" fmla="*/ 55 w 152"/>
                  <a:gd name="T39" fmla="*/ 228 h 229"/>
                  <a:gd name="T40" fmla="*/ 70 w 152"/>
                  <a:gd name="T41" fmla="*/ 209 h 229"/>
                  <a:gd name="T42" fmla="*/ 81 w 152"/>
                  <a:gd name="T43" fmla="*/ 215 h 229"/>
                  <a:gd name="T44" fmla="*/ 132 w 152"/>
                  <a:gd name="T45" fmla="*/ 219 h 229"/>
                  <a:gd name="T46" fmla="*/ 151 w 152"/>
                  <a:gd name="T47" fmla="*/ 217 h 229"/>
                  <a:gd name="T48" fmla="*/ 149 w 152"/>
                  <a:gd name="T49" fmla="*/ 198 h 229"/>
                  <a:gd name="T50" fmla="*/ 138 w 152"/>
                  <a:gd name="T51" fmla="*/ 195 h 229"/>
                  <a:gd name="T52" fmla="*/ 140 w 152"/>
                  <a:gd name="T53" fmla="*/ 84 h 229"/>
                  <a:gd name="T54" fmla="*/ 132 w 152"/>
                  <a:gd name="T55" fmla="*/ 75 h 229"/>
                  <a:gd name="T56" fmla="*/ 132 w 152"/>
                  <a:gd name="T57" fmla="*/ 53 h 229"/>
                  <a:gd name="T58" fmla="*/ 142 w 152"/>
                  <a:gd name="T59" fmla="*/ 50 h 229"/>
                  <a:gd name="T60" fmla="*/ 143 w 152"/>
                  <a:gd name="T61" fmla="*/ 36 h 229"/>
                  <a:gd name="T62" fmla="*/ 112 w 152"/>
                  <a:gd name="T63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52" h="229">
                    <a:moveTo>
                      <a:pt x="112" y="0"/>
                    </a:moveTo>
                    <a:lnTo>
                      <a:pt x="107" y="20"/>
                    </a:lnTo>
                    <a:lnTo>
                      <a:pt x="100" y="29"/>
                    </a:lnTo>
                    <a:lnTo>
                      <a:pt x="66" y="31"/>
                    </a:lnTo>
                    <a:lnTo>
                      <a:pt x="66" y="81"/>
                    </a:lnTo>
                    <a:lnTo>
                      <a:pt x="53" y="76"/>
                    </a:lnTo>
                    <a:lnTo>
                      <a:pt x="44" y="84"/>
                    </a:lnTo>
                    <a:lnTo>
                      <a:pt x="41" y="97"/>
                    </a:lnTo>
                    <a:lnTo>
                      <a:pt x="40" y="118"/>
                    </a:lnTo>
                    <a:lnTo>
                      <a:pt x="26" y="118"/>
                    </a:lnTo>
                    <a:lnTo>
                      <a:pt x="6" y="115"/>
                    </a:lnTo>
                    <a:lnTo>
                      <a:pt x="0" y="113"/>
                    </a:lnTo>
                    <a:lnTo>
                      <a:pt x="0" y="156"/>
                    </a:lnTo>
                    <a:lnTo>
                      <a:pt x="4" y="162"/>
                    </a:lnTo>
                    <a:lnTo>
                      <a:pt x="4" y="195"/>
                    </a:lnTo>
                    <a:lnTo>
                      <a:pt x="17" y="192"/>
                    </a:lnTo>
                    <a:lnTo>
                      <a:pt x="23" y="201"/>
                    </a:lnTo>
                    <a:lnTo>
                      <a:pt x="33" y="205"/>
                    </a:lnTo>
                    <a:lnTo>
                      <a:pt x="44" y="220"/>
                    </a:lnTo>
                    <a:lnTo>
                      <a:pt x="55" y="228"/>
                    </a:lnTo>
                    <a:lnTo>
                      <a:pt x="70" y="209"/>
                    </a:lnTo>
                    <a:lnTo>
                      <a:pt x="81" y="215"/>
                    </a:lnTo>
                    <a:lnTo>
                      <a:pt x="132" y="219"/>
                    </a:lnTo>
                    <a:lnTo>
                      <a:pt x="151" y="217"/>
                    </a:lnTo>
                    <a:lnTo>
                      <a:pt x="149" y="198"/>
                    </a:lnTo>
                    <a:lnTo>
                      <a:pt x="138" y="195"/>
                    </a:lnTo>
                    <a:lnTo>
                      <a:pt x="140" y="84"/>
                    </a:lnTo>
                    <a:lnTo>
                      <a:pt x="132" y="75"/>
                    </a:lnTo>
                    <a:lnTo>
                      <a:pt x="132" y="53"/>
                    </a:lnTo>
                    <a:lnTo>
                      <a:pt x="142" y="50"/>
                    </a:lnTo>
                    <a:lnTo>
                      <a:pt x="143" y="36"/>
                    </a:lnTo>
                    <a:lnTo>
                      <a:pt x="112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75" name="Freeform 212">
                <a:extLst>
                  <a:ext uri="{FF2B5EF4-FFF2-40B4-BE49-F238E27FC236}">
                    <a16:creationId xmlns:a16="http://schemas.microsoft.com/office/drawing/2014/main" id="{8FA5FAFA-DD05-4B55-9903-3318D8CF8B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1" y="2956"/>
                <a:ext cx="116" cy="162"/>
              </a:xfrm>
              <a:custGeom>
                <a:avLst/>
                <a:gdLst>
                  <a:gd name="T0" fmla="*/ 0 w 103"/>
                  <a:gd name="T1" fmla="*/ 133 h 145"/>
                  <a:gd name="T2" fmla="*/ 5 w 103"/>
                  <a:gd name="T3" fmla="*/ 126 h 145"/>
                  <a:gd name="T4" fmla="*/ 10 w 103"/>
                  <a:gd name="T5" fmla="*/ 114 h 145"/>
                  <a:gd name="T6" fmla="*/ 3 w 103"/>
                  <a:gd name="T7" fmla="*/ 108 h 145"/>
                  <a:gd name="T8" fmla="*/ 2 w 103"/>
                  <a:gd name="T9" fmla="*/ 101 h 145"/>
                  <a:gd name="T10" fmla="*/ 12 w 103"/>
                  <a:gd name="T11" fmla="*/ 97 h 145"/>
                  <a:gd name="T12" fmla="*/ 19 w 103"/>
                  <a:gd name="T13" fmla="*/ 95 h 145"/>
                  <a:gd name="T14" fmla="*/ 27 w 103"/>
                  <a:gd name="T15" fmla="*/ 104 h 145"/>
                  <a:gd name="T16" fmla="*/ 39 w 103"/>
                  <a:gd name="T17" fmla="*/ 100 h 145"/>
                  <a:gd name="T18" fmla="*/ 48 w 103"/>
                  <a:gd name="T19" fmla="*/ 86 h 145"/>
                  <a:gd name="T20" fmla="*/ 46 w 103"/>
                  <a:gd name="T21" fmla="*/ 72 h 145"/>
                  <a:gd name="T22" fmla="*/ 38 w 103"/>
                  <a:gd name="T23" fmla="*/ 65 h 145"/>
                  <a:gd name="T24" fmla="*/ 34 w 103"/>
                  <a:gd name="T25" fmla="*/ 55 h 145"/>
                  <a:gd name="T26" fmla="*/ 37 w 103"/>
                  <a:gd name="T27" fmla="*/ 47 h 145"/>
                  <a:gd name="T28" fmla="*/ 35 w 103"/>
                  <a:gd name="T29" fmla="*/ 38 h 145"/>
                  <a:gd name="T30" fmla="*/ 24 w 103"/>
                  <a:gd name="T31" fmla="*/ 38 h 145"/>
                  <a:gd name="T32" fmla="*/ 24 w 103"/>
                  <a:gd name="T33" fmla="*/ 25 h 145"/>
                  <a:gd name="T34" fmla="*/ 69 w 103"/>
                  <a:gd name="T35" fmla="*/ 19 h 145"/>
                  <a:gd name="T36" fmla="*/ 75 w 103"/>
                  <a:gd name="T37" fmla="*/ 10 h 145"/>
                  <a:gd name="T38" fmla="*/ 82 w 103"/>
                  <a:gd name="T39" fmla="*/ 2 h 145"/>
                  <a:gd name="T40" fmla="*/ 93 w 103"/>
                  <a:gd name="T41" fmla="*/ 0 h 145"/>
                  <a:gd name="T42" fmla="*/ 102 w 103"/>
                  <a:gd name="T43" fmla="*/ 3 h 145"/>
                  <a:gd name="T44" fmla="*/ 98 w 103"/>
                  <a:gd name="T45" fmla="*/ 22 h 145"/>
                  <a:gd name="T46" fmla="*/ 94 w 103"/>
                  <a:gd name="T47" fmla="*/ 26 h 145"/>
                  <a:gd name="T48" fmla="*/ 93 w 103"/>
                  <a:gd name="T49" fmla="*/ 71 h 145"/>
                  <a:gd name="T50" fmla="*/ 89 w 103"/>
                  <a:gd name="T51" fmla="*/ 77 h 145"/>
                  <a:gd name="T52" fmla="*/ 83 w 103"/>
                  <a:gd name="T53" fmla="*/ 84 h 145"/>
                  <a:gd name="T54" fmla="*/ 82 w 103"/>
                  <a:gd name="T55" fmla="*/ 103 h 145"/>
                  <a:gd name="T56" fmla="*/ 70 w 103"/>
                  <a:gd name="T57" fmla="*/ 104 h 145"/>
                  <a:gd name="T58" fmla="*/ 69 w 103"/>
                  <a:gd name="T59" fmla="*/ 128 h 145"/>
                  <a:gd name="T60" fmla="*/ 54 w 103"/>
                  <a:gd name="T61" fmla="*/ 134 h 145"/>
                  <a:gd name="T62" fmla="*/ 51 w 103"/>
                  <a:gd name="T63" fmla="*/ 139 h 145"/>
                  <a:gd name="T64" fmla="*/ 39 w 103"/>
                  <a:gd name="T65" fmla="*/ 139 h 145"/>
                  <a:gd name="T66" fmla="*/ 32 w 103"/>
                  <a:gd name="T67" fmla="*/ 135 h 145"/>
                  <a:gd name="T68" fmla="*/ 22 w 103"/>
                  <a:gd name="T69" fmla="*/ 139 h 145"/>
                  <a:gd name="T70" fmla="*/ 14 w 103"/>
                  <a:gd name="T71" fmla="*/ 142 h 145"/>
                  <a:gd name="T72" fmla="*/ 8 w 103"/>
                  <a:gd name="T73" fmla="*/ 144 h 145"/>
                  <a:gd name="T74" fmla="*/ 8 w 103"/>
                  <a:gd name="T75" fmla="*/ 137 h 145"/>
                  <a:gd name="T76" fmla="*/ 0 w 103"/>
                  <a:gd name="T77" fmla="*/ 133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3" h="145">
                    <a:moveTo>
                      <a:pt x="0" y="133"/>
                    </a:moveTo>
                    <a:lnTo>
                      <a:pt x="5" y="126"/>
                    </a:lnTo>
                    <a:lnTo>
                      <a:pt x="10" y="114"/>
                    </a:lnTo>
                    <a:lnTo>
                      <a:pt x="3" y="108"/>
                    </a:lnTo>
                    <a:lnTo>
                      <a:pt x="2" y="101"/>
                    </a:lnTo>
                    <a:lnTo>
                      <a:pt x="12" y="97"/>
                    </a:lnTo>
                    <a:lnTo>
                      <a:pt x="19" y="95"/>
                    </a:lnTo>
                    <a:lnTo>
                      <a:pt x="27" y="104"/>
                    </a:lnTo>
                    <a:lnTo>
                      <a:pt x="39" y="100"/>
                    </a:lnTo>
                    <a:lnTo>
                      <a:pt x="48" y="86"/>
                    </a:lnTo>
                    <a:lnTo>
                      <a:pt x="46" y="72"/>
                    </a:lnTo>
                    <a:lnTo>
                      <a:pt x="38" y="65"/>
                    </a:lnTo>
                    <a:lnTo>
                      <a:pt x="34" y="55"/>
                    </a:lnTo>
                    <a:lnTo>
                      <a:pt x="37" y="47"/>
                    </a:lnTo>
                    <a:lnTo>
                      <a:pt x="35" y="38"/>
                    </a:lnTo>
                    <a:lnTo>
                      <a:pt x="24" y="38"/>
                    </a:lnTo>
                    <a:lnTo>
                      <a:pt x="24" y="25"/>
                    </a:lnTo>
                    <a:lnTo>
                      <a:pt x="69" y="19"/>
                    </a:lnTo>
                    <a:lnTo>
                      <a:pt x="75" y="10"/>
                    </a:lnTo>
                    <a:lnTo>
                      <a:pt x="82" y="2"/>
                    </a:lnTo>
                    <a:lnTo>
                      <a:pt x="93" y="0"/>
                    </a:lnTo>
                    <a:lnTo>
                      <a:pt x="102" y="3"/>
                    </a:lnTo>
                    <a:lnTo>
                      <a:pt x="98" y="22"/>
                    </a:lnTo>
                    <a:lnTo>
                      <a:pt x="94" y="26"/>
                    </a:lnTo>
                    <a:lnTo>
                      <a:pt x="93" y="71"/>
                    </a:lnTo>
                    <a:lnTo>
                      <a:pt x="89" y="77"/>
                    </a:lnTo>
                    <a:lnTo>
                      <a:pt x="83" y="84"/>
                    </a:lnTo>
                    <a:lnTo>
                      <a:pt x="82" y="103"/>
                    </a:lnTo>
                    <a:lnTo>
                      <a:pt x="70" y="104"/>
                    </a:lnTo>
                    <a:lnTo>
                      <a:pt x="69" y="128"/>
                    </a:lnTo>
                    <a:lnTo>
                      <a:pt x="54" y="134"/>
                    </a:lnTo>
                    <a:lnTo>
                      <a:pt x="51" y="139"/>
                    </a:lnTo>
                    <a:lnTo>
                      <a:pt x="39" y="139"/>
                    </a:lnTo>
                    <a:lnTo>
                      <a:pt x="32" y="135"/>
                    </a:lnTo>
                    <a:lnTo>
                      <a:pt x="22" y="139"/>
                    </a:lnTo>
                    <a:lnTo>
                      <a:pt x="14" y="142"/>
                    </a:lnTo>
                    <a:lnTo>
                      <a:pt x="8" y="144"/>
                    </a:lnTo>
                    <a:lnTo>
                      <a:pt x="8" y="137"/>
                    </a:lnTo>
                    <a:lnTo>
                      <a:pt x="0" y="13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76" name="Freeform 213">
                <a:extLst>
                  <a:ext uri="{FF2B5EF4-FFF2-40B4-BE49-F238E27FC236}">
                    <a16:creationId xmlns:a16="http://schemas.microsoft.com/office/drawing/2014/main" id="{C42AB062-8198-4FB1-801B-5519113851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" y="2932"/>
                <a:ext cx="315" cy="350"/>
              </a:xfrm>
              <a:custGeom>
                <a:avLst/>
                <a:gdLst>
                  <a:gd name="T0" fmla="*/ 1 w 282"/>
                  <a:gd name="T1" fmla="*/ 174 h 311"/>
                  <a:gd name="T2" fmla="*/ 7 w 282"/>
                  <a:gd name="T3" fmla="*/ 183 h 311"/>
                  <a:gd name="T4" fmla="*/ 42 w 282"/>
                  <a:gd name="T5" fmla="*/ 178 h 311"/>
                  <a:gd name="T6" fmla="*/ 75 w 282"/>
                  <a:gd name="T7" fmla="*/ 206 h 311"/>
                  <a:gd name="T8" fmla="*/ 82 w 282"/>
                  <a:gd name="T9" fmla="*/ 217 h 311"/>
                  <a:gd name="T10" fmla="*/ 110 w 282"/>
                  <a:gd name="T11" fmla="*/ 201 h 311"/>
                  <a:gd name="T12" fmla="*/ 124 w 282"/>
                  <a:gd name="T13" fmla="*/ 213 h 311"/>
                  <a:gd name="T14" fmla="*/ 139 w 282"/>
                  <a:gd name="T15" fmla="*/ 206 h 311"/>
                  <a:gd name="T16" fmla="*/ 146 w 282"/>
                  <a:gd name="T17" fmla="*/ 247 h 311"/>
                  <a:gd name="T18" fmla="*/ 155 w 282"/>
                  <a:gd name="T19" fmla="*/ 267 h 311"/>
                  <a:gd name="T20" fmla="*/ 188 w 282"/>
                  <a:gd name="T21" fmla="*/ 268 h 311"/>
                  <a:gd name="T22" fmla="*/ 199 w 282"/>
                  <a:gd name="T23" fmla="*/ 286 h 311"/>
                  <a:gd name="T24" fmla="*/ 215 w 282"/>
                  <a:gd name="T25" fmla="*/ 275 h 311"/>
                  <a:gd name="T26" fmla="*/ 228 w 282"/>
                  <a:gd name="T27" fmla="*/ 286 h 311"/>
                  <a:gd name="T28" fmla="*/ 237 w 282"/>
                  <a:gd name="T29" fmla="*/ 310 h 311"/>
                  <a:gd name="T30" fmla="*/ 257 w 282"/>
                  <a:gd name="T31" fmla="*/ 300 h 311"/>
                  <a:gd name="T32" fmla="*/ 244 w 282"/>
                  <a:gd name="T33" fmla="*/ 281 h 311"/>
                  <a:gd name="T34" fmla="*/ 242 w 282"/>
                  <a:gd name="T35" fmla="*/ 231 h 311"/>
                  <a:gd name="T36" fmla="*/ 258 w 282"/>
                  <a:gd name="T37" fmla="*/ 217 h 311"/>
                  <a:gd name="T38" fmla="*/ 262 w 282"/>
                  <a:gd name="T39" fmla="*/ 200 h 311"/>
                  <a:gd name="T40" fmla="*/ 257 w 282"/>
                  <a:gd name="T41" fmla="*/ 180 h 311"/>
                  <a:gd name="T42" fmla="*/ 257 w 282"/>
                  <a:gd name="T43" fmla="*/ 159 h 311"/>
                  <a:gd name="T44" fmla="*/ 247 w 282"/>
                  <a:gd name="T45" fmla="*/ 144 h 311"/>
                  <a:gd name="T46" fmla="*/ 241 w 282"/>
                  <a:gd name="T47" fmla="*/ 130 h 311"/>
                  <a:gd name="T48" fmla="*/ 246 w 282"/>
                  <a:gd name="T49" fmla="*/ 116 h 311"/>
                  <a:gd name="T50" fmla="*/ 253 w 282"/>
                  <a:gd name="T51" fmla="*/ 102 h 311"/>
                  <a:gd name="T52" fmla="*/ 272 w 282"/>
                  <a:gd name="T53" fmla="*/ 62 h 311"/>
                  <a:gd name="T54" fmla="*/ 281 w 282"/>
                  <a:gd name="T55" fmla="*/ 48 h 311"/>
                  <a:gd name="T56" fmla="*/ 272 w 282"/>
                  <a:gd name="T57" fmla="*/ 42 h 311"/>
                  <a:gd name="T58" fmla="*/ 268 w 282"/>
                  <a:gd name="T59" fmla="*/ 21 h 311"/>
                  <a:gd name="T60" fmla="*/ 253 w 282"/>
                  <a:gd name="T61" fmla="*/ 11 h 311"/>
                  <a:gd name="T62" fmla="*/ 215 w 282"/>
                  <a:gd name="T63" fmla="*/ 1 h 311"/>
                  <a:gd name="T64" fmla="*/ 190 w 282"/>
                  <a:gd name="T65" fmla="*/ 3 h 311"/>
                  <a:gd name="T66" fmla="*/ 176 w 282"/>
                  <a:gd name="T67" fmla="*/ 8 h 311"/>
                  <a:gd name="T68" fmla="*/ 143 w 282"/>
                  <a:gd name="T69" fmla="*/ 16 h 311"/>
                  <a:gd name="T70" fmla="*/ 114 w 282"/>
                  <a:gd name="T71" fmla="*/ 8 h 311"/>
                  <a:gd name="T72" fmla="*/ 98 w 282"/>
                  <a:gd name="T73" fmla="*/ 14 h 311"/>
                  <a:gd name="T74" fmla="*/ 86 w 282"/>
                  <a:gd name="T75" fmla="*/ 21 h 311"/>
                  <a:gd name="T76" fmla="*/ 91 w 282"/>
                  <a:gd name="T77" fmla="*/ 43 h 311"/>
                  <a:gd name="T78" fmla="*/ 86 w 282"/>
                  <a:gd name="T79" fmla="*/ 92 h 311"/>
                  <a:gd name="T80" fmla="*/ 76 w 282"/>
                  <a:gd name="T81" fmla="*/ 105 h 311"/>
                  <a:gd name="T82" fmla="*/ 63 w 282"/>
                  <a:gd name="T83" fmla="*/ 125 h 311"/>
                  <a:gd name="T84" fmla="*/ 47 w 282"/>
                  <a:gd name="T85" fmla="*/ 155 h 311"/>
                  <a:gd name="T86" fmla="*/ 31 w 282"/>
                  <a:gd name="T87" fmla="*/ 160 h 311"/>
                  <a:gd name="T88" fmla="*/ 14 w 282"/>
                  <a:gd name="T89" fmla="*/ 160 h 311"/>
                  <a:gd name="T90" fmla="*/ 1 w 282"/>
                  <a:gd name="T91" fmla="*/ 165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82" h="311">
                    <a:moveTo>
                      <a:pt x="7" y="171"/>
                    </a:moveTo>
                    <a:lnTo>
                      <a:pt x="1" y="174"/>
                    </a:lnTo>
                    <a:lnTo>
                      <a:pt x="0" y="180"/>
                    </a:lnTo>
                    <a:lnTo>
                      <a:pt x="7" y="183"/>
                    </a:lnTo>
                    <a:lnTo>
                      <a:pt x="28" y="184"/>
                    </a:lnTo>
                    <a:lnTo>
                      <a:pt x="42" y="178"/>
                    </a:lnTo>
                    <a:lnTo>
                      <a:pt x="69" y="181"/>
                    </a:lnTo>
                    <a:lnTo>
                      <a:pt x="75" y="206"/>
                    </a:lnTo>
                    <a:lnTo>
                      <a:pt x="81" y="208"/>
                    </a:lnTo>
                    <a:lnTo>
                      <a:pt x="82" y="217"/>
                    </a:lnTo>
                    <a:lnTo>
                      <a:pt x="109" y="217"/>
                    </a:lnTo>
                    <a:lnTo>
                      <a:pt x="110" y="201"/>
                    </a:lnTo>
                    <a:lnTo>
                      <a:pt x="116" y="195"/>
                    </a:lnTo>
                    <a:lnTo>
                      <a:pt x="124" y="213"/>
                    </a:lnTo>
                    <a:lnTo>
                      <a:pt x="130" y="208"/>
                    </a:lnTo>
                    <a:lnTo>
                      <a:pt x="139" y="206"/>
                    </a:lnTo>
                    <a:lnTo>
                      <a:pt x="145" y="215"/>
                    </a:lnTo>
                    <a:lnTo>
                      <a:pt x="146" y="247"/>
                    </a:lnTo>
                    <a:lnTo>
                      <a:pt x="146" y="259"/>
                    </a:lnTo>
                    <a:lnTo>
                      <a:pt x="155" y="267"/>
                    </a:lnTo>
                    <a:lnTo>
                      <a:pt x="172" y="267"/>
                    </a:lnTo>
                    <a:lnTo>
                      <a:pt x="188" y="268"/>
                    </a:lnTo>
                    <a:lnTo>
                      <a:pt x="192" y="284"/>
                    </a:lnTo>
                    <a:lnTo>
                      <a:pt x="199" y="286"/>
                    </a:lnTo>
                    <a:lnTo>
                      <a:pt x="203" y="277"/>
                    </a:lnTo>
                    <a:lnTo>
                      <a:pt x="215" y="275"/>
                    </a:lnTo>
                    <a:lnTo>
                      <a:pt x="216" y="280"/>
                    </a:lnTo>
                    <a:lnTo>
                      <a:pt x="228" y="286"/>
                    </a:lnTo>
                    <a:lnTo>
                      <a:pt x="231" y="302"/>
                    </a:lnTo>
                    <a:lnTo>
                      <a:pt x="237" y="310"/>
                    </a:lnTo>
                    <a:lnTo>
                      <a:pt x="253" y="309"/>
                    </a:lnTo>
                    <a:lnTo>
                      <a:pt x="257" y="300"/>
                    </a:lnTo>
                    <a:lnTo>
                      <a:pt x="254" y="282"/>
                    </a:lnTo>
                    <a:lnTo>
                      <a:pt x="244" y="281"/>
                    </a:lnTo>
                    <a:lnTo>
                      <a:pt x="238" y="275"/>
                    </a:lnTo>
                    <a:lnTo>
                      <a:pt x="242" y="231"/>
                    </a:lnTo>
                    <a:lnTo>
                      <a:pt x="247" y="221"/>
                    </a:lnTo>
                    <a:lnTo>
                      <a:pt x="258" y="217"/>
                    </a:lnTo>
                    <a:lnTo>
                      <a:pt x="261" y="208"/>
                    </a:lnTo>
                    <a:lnTo>
                      <a:pt x="262" y="200"/>
                    </a:lnTo>
                    <a:lnTo>
                      <a:pt x="261" y="190"/>
                    </a:lnTo>
                    <a:lnTo>
                      <a:pt x="257" y="180"/>
                    </a:lnTo>
                    <a:lnTo>
                      <a:pt x="256" y="173"/>
                    </a:lnTo>
                    <a:lnTo>
                      <a:pt x="257" y="159"/>
                    </a:lnTo>
                    <a:lnTo>
                      <a:pt x="253" y="149"/>
                    </a:lnTo>
                    <a:lnTo>
                      <a:pt x="247" y="144"/>
                    </a:lnTo>
                    <a:lnTo>
                      <a:pt x="250" y="129"/>
                    </a:lnTo>
                    <a:lnTo>
                      <a:pt x="241" y="130"/>
                    </a:lnTo>
                    <a:lnTo>
                      <a:pt x="240" y="122"/>
                    </a:lnTo>
                    <a:lnTo>
                      <a:pt x="246" y="116"/>
                    </a:lnTo>
                    <a:lnTo>
                      <a:pt x="244" y="107"/>
                    </a:lnTo>
                    <a:lnTo>
                      <a:pt x="253" y="102"/>
                    </a:lnTo>
                    <a:lnTo>
                      <a:pt x="257" y="68"/>
                    </a:lnTo>
                    <a:lnTo>
                      <a:pt x="272" y="62"/>
                    </a:lnTo>
                    <a:lnTo>
                      <a:pt x="280" y="58"/>
                    </a:lnTo>
                    <a:lnTo>
                      <a:pt x="281" y="48"/>
                    </a:lnTo>
                    <a:lnTo>
                      <a:pt x="272" y="48"/>
                    </a:lnTo>
                    <a:lnTo>
                      <a:pt x="272" y="42"/>
                    </a:lnTo>
                    <a:lnTo>
                      <a:pt x="268" y="23"/>
                    </a:lnTo>
                    <a:lnTo>
                      <a:pt x="268" y="21"/>
                    </a:lnTo>
                    <a:lnTo>
                      <a:pt x="258" y="19"/>
                    </a:lnTo>
                    <a:lnTo>
                      <a:pt x="253" y="11"/>
                    </a:lnTo>
                    <a:lnTo>
                      <a:pt x="220" y="8"/>
                    </a:lnTo>
                    <a:lnTo>
                      <a:pt x="215" y="1"/>
                    </a:lnTo>
                    <a:lnTo>
                      <a:pt x="206" y="0"/>
                    </a:lnTo>
                    <a:lnTo>
                      <a:pt x="190" y="3"/>
                    </a:lnTo>
                    <a:lnTo>
                      <a:pt x="177" y="1"/>
                    </a:lnTo>
                    <a:lnTo>
                      <a:pt x="176" y="8"/>
                    </a:lnTo>
                    <a:lnTo>
                      <a:pt x="146" y="10"/>
                    </a:lnTo>
                    <a:lnTo>
                      <a:pt x="143" y="16"/>
                    </a:lnTo>
                    <a:lnTo>
                      <a:pt x="119" y="19"/>
                    </a:lnTo>
                    <a:lnTo>
                      <a:pt x="114" y="8"/>
                    </a:lnTo>
                    <a:lnTo>
                      <a:pt x="104" y="5"/>
                    </a:lnTo>
                    <a:lnTo>
                      <a:pt x="98" y="14"/>
                    </a:lnTo>
                    <a:lnTo>
                      <a:pt x="91" y="17"/>
                    </a:lnTo>
                    <a:lnTo>
                      <a:pt x="86" y="21"/>
                    </a:lnTo>
                    <a:lnTo>
                      <a:pt x="95" y="25"/>
                    </a:lnTo>
                    <a:lnTo>
                      <a:pt x="91" y="43"/>
                    </a:lnTo>
                    <a:lnTo>
                      <a:pt x="87" y="47"/>
                    </a:lnTo>
                    <a:lnTo>
                      <a:pt x="86" y="92"/>
                    </a:lnTo>
                    <a:lnTo>
                      <a:pt x="82" y="98"/>
                    </a:lnTo>
                    <a:lnTo>
                      <a:pt x="76" y="105"/>
                    </a:lnTo>
                    <a:lnTo>
                      <a:pt x="75" y="125"/>
                    </a:lnTo>
                    <a:lnTo>
                      <a:pt x="63" y="125"/>
                    </a:lnTo>
                    <a:lnTo>
                      <a:pt x="62" y="149"/>
                    </a:lnTo>
                    <a:lnTo>
                      <a:pt x="47" y="155"/>
                    </a:lnTo>
                    <a:lnTo>
                      <a:pt x="43" y="160"/>
                    </a:lnTo>
                    <a:lnTo>
                      <a:pt x="31" y="160"/>
                    </a:lnTo>
                    <a:lnTo>
                      <a:pt x="25" y="156"/>
                    </a:lnTo>
                    <a:lnTo>
                      <a:pt x="14" y="160"/>
                    </a:lnTo>
                    <a:lnTo>
                      <a:pt x="7" y="163"/>
                    </a:lnTo>
                    <a:lnTo>
                      <a:pt x="1" y="165"/>
                    </a:lnTo>
                    <a:lnTo>
                      <a:pt x="4" y="17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77" name="Freeform 214">
                <a:extLst>
                  <a:ext uri="{FF2B5EF4-FFF2-40B4-BE49-F238E27FC236}">
                    <a16:creationId xmlns:a16="http://schemas.microsoft.com/office/drawing/2014/main" id="{46256CB7-E7CA-488B-9D81-5A8F19B2AF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1" y="3133"/>
                <a:ext cx="202" cy="228"/>
              </a:xfrm>
              <a:custGeom>
                <a:avLst/>
                <a:gdLst>
                  <a:gd name="T0" fmla="*/ 8 w 180"/>
                  <a:gd name="T1" fmla="*/ 3 h 203"/>
                  <a:gd name="T2" fmla="*/ 14 w 180"/>
                  <a:gd name="T3" fmla="*/ 5 h 203"/>
                  <a:gd name="T4" fmla="*/ 35 w 180"/>
                  <a:gd name="T5" fmla="*/ 6 h 203"/>
                  <a:gd name="T6" fmla="*/ 50 w 180"/>
                  <a:gd name="T7" fmla="*/ 0 h 203"/>
                  <a:gd name="T8" fmla="*/ 76 w 180"/>
                  <a:gd name="T9" fmla="*/ 3 h 203"/>
                  <a:gd name="T10" fmla="*/ 82 w 180"/>
                  <a:gd name="T11" fmla="*/ 28 h 203"/>
                  <a:gd name="T12" fmla="*/ 89 w 180"/>
                  <a:gd name="T13" fmla="*/ 30 h 203"/>
                  <a:gd name="T14" fmla="*/ 90 w 180"/>
                  <a:gd name="T15" fmla="*/ 39 h 203"/>
                  <a:gd name="T16" fmla="*/ 116 w 180"/>
                  <a:gd name="T17" fmla="*/ 39 h 203"/>
                  <a:gd name="T18" fmla="*/ 117 w 180"/>
                  <a:gd name="T19" fmla="*/ 23 h 203"/>
                  <a:gd name="T20" fmla="*/ 123 w 180"/>
                  <a:gd name="T21" fmla="*/ 17 h 203"/>
                  <a:gd name="T22" fmla="*/ 131 w 180"/>
                  <a:gd name="T23" fmla="*/ 35 h 203"/>
                  <a:gd name="T24" fmla="*/ 137 w 180"/>
                  <a:gd name="T25" fmla="*/ 30 h 203"/>
                  <a:gd name="T26" fmla="*/ 146 w 180"/>
                  <a:gd name="T27" fmla="*/ 28 h 203"/>
                  <a:gd name="T28" fmla="*/ 152 w 180"/>
                  <a:gd name="T29" fmla="*/ 37 h 203"/>
                  <a:gd name="T30" fmla="*/ 153 w 180"/>
                  <a:gd name="T31" fmla="*/ 69 h 203"/>
                  <a:gd name="T32" fmla="*/ 153 w 180"/>
                  <a:gd name="T33" fmla="*/ 81 h 203"/>
                  <a:gd name="T34" fmla="*/ 162 w 180"/>
                  <a:gd name="T35" fmla="*/ 88 h 203"/>
                  <a:gd name="T36" fmla="*/ 179 w 180"/>
                  <a:gd name="T37" fmla="*/ 88 h 203"/>
                  <a:gd name="T38" fmla="*/ 176 w 180"/>
                  <a:gd name="T39" fmla="*/ 122 h 203"/>
                  <a:gd name="T40" fmla="*/ 164 w 180"/>
                  <a:gd name="T41" fmla="*/ 122 h 203"/>
                  <a:gd name="T42" fmla="*/ 159 w 180"/>
                  <a:gd name="T43" fmla="*/ 113 h 203"/>
                  <a:gd name="T44" fmla="*/ 153 w 180"/>
                  <a:gd name="T45" fmla="*/ 114 h 203"/>
                  <a:gd name="T46" fmla="*/ 153 w 180"/>
                  <a:gd name="T47" fmla="*/ 122 h 203"/>
                  <a:gd name="T48" fmla="*/ 143 w 180"/>
                  <a:gd name="T49" fmla="*/ 123 h 203"/>
                  <a:gd name="T50" fmla="*/ 142 w 180"/>
                  <a:gd name="T51" fmla="*/ 162 h 203"/>
                  <a:gd name="T52" fmla="*/ 144 w 180"/>
                  <a:gd name="T53" fmla="*/ 173 h 203"/>
                  <a:gd name="T54" fmla="*/ 155 w 180"/>
                  <a:gd name="T55" fmla="*/ 188 h 203"/>
                  <a:gd name="T56" fmla="*/ 156 w 180"/>
                  <a:gd name="T57" fmla="*/ 195 h 203"/>
                  <a:gd name="T58" fmla="*/ 138 w 180"/>
                  <a:gd name="T59" fmla="*/ 202 h 203"/>
                  <a:gd name="T60" fmla="*/ 127 w 180"/>
                  <a:gd name="T61" fmla="*/ 200 h 203"/>
                  <a:gd name="T62" fmla="*/ 97 w 180"/>
                  <a:gd name="T63" fmla="*/ 196 h 203"/>
                  <a:gd name="T64" fmla="*/ 92 w 180"/>
                  <a:gd name="T65" fmla="*/ 188 h 203"/>
                  <a:gd name="T66" fmla="*/ 55 w 180"/>
                  <a:gd name="T67" fmla="*/ 189 h 203"/>
                  <a:gd name="T68" fmla="*/ 30 w 180"/>
                  <a:gd name="T69" fmla="*/ 187 h 203"/>
                  <a:gd name="T70" fmla="*/ 14 w 180"/>
                  <a:gd name="T71" fmla="*/ 180 h 203"/>
                  <a:gd name="T72" fmla="*/ 0 w 180"/>
                  <a:gd name="T73" fmla="*/ 186 h 203"/>
                  <a:gd name="T74" fmla="*/ 0 w 180"/>
                  <a:gd name="T75" fmla="*/ 162 h 203"/>
                  <a:gd name="T76" fmla="*/ 16 w 180"/>
                  <a:gd name="T77" fmla="*/ 133 h 203"/>
                  <a:gd name="T78" fmla="*/ 24 w 180"/>
                  <a:gd name="T79" fmla="*/ 114 h 203"/>
                  <a:gd name="T80" fmla="*/ 25 w 180"/>
                  <a:gd name="T81" fmla="*/ 110 h 203"/>
                  <a:gd name="T82" fmla="*/ 32 w 180"/>
                  <a:gd name="T83" fmla="*/ 108 h 203"/>
                  <a:gd name="T84" fmla="*/ 35 w 180"/>
                  <a:gd name="T85" fmla="*/ 93 h 203"/>
                  <a:gd name="T86" fmla="*/ 26 w 180"/>
                  <a:gd name="T87" fmla="*/ 78 h 203"/>
                  <a:gd name="T88" fmla="*/ 23 w 180"/>
                  <a:gd name="T89" fmla="*/ 59 h 203"/>
                  <a:gd name="T90" fmla="*/ 21 w 180"/>
                  <a:gd name="T91" fmla="*/ 39 h 203"/>
                  <a:gd name="T92" fmla="*/ 14 w 180"/>
                  <a:gd name="T93" fmla="*/ 34 h 203"/>
                  <a:gd name="T94" fmla="*/ 14 w 180"/>
                  <a:gd name="T95" fmla="*/ 12 h 203"/>
                  <a:gd name="T96" fmla="*/ 5 w 180"/>
                  <a:gd name="T97" fmla="*/ 12 h 203"/>
                  <a:gd name="T98" fmla="*/ 8 w 180"/>
                  <a:gd name="T99" fmla="*/ 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0" h="203">
                    <a:moveTo>
                      <a:pt x="8" y="3"/>
                    </a:moveTo>
                    <a:lnTo>
                      <a:pt x="14" y="5"/>
                    </a:lnTo>
                    <a:lnTo>
                      <a:pt x="35" y="6"/>
                    </a:lnTo>
                    <a:lnTo>
                      <a:pt x="50" y="0"/>
                    </a:lnTo>
                    <a:lnTo>
                      <a:pt x="76" y="3"/>
                    </a:lnTo>
                    <a:lnTo>
                      <a:pt x="82" y="28"/>
                    </a:lnTo>
                    <a:lnTo>
                      <a:pt x="89" y="30"/>
                    </a:lnTo>
                    <a:lnTo>
                      <a:pt x="90" y="39"/>
                    </a:lnTo>
                    <a:lnTo>
                      <a:pt x="116" y="39"/>
                    </a:lnTo>
                    <a:lnTo>
                      <a:pt x="117" y="23"/>
                    </a:lnTo>
                    <a:lnTo>
                      <a:pt x="123" y="17"/>
                    </a:lnTo>
                    <a:lnTo>
                      <a:pt x="131" y="35"/>
                    </a:lnTo>
                    <a:lnTo>
                      <a:pt x="137" y="30"/>
                    </a:lnTo>
                    <a:lnTo>
                      <a:pt x="146" y="28"/>
                    </a:lnTo>
                    <a:lnTo>
                      <a:pt x="152" y="37"/>
                    </a:lnTo>
                    <a:lnTo>
                      <a:pt x="153" y="69"/>
                    </a:lnTo>
                    <a:lnTo>
                      <a:pt x="153" y="81"/>
                    </a:lnTo>
                    <a:lnTo>
                      <a:pt x="162" y="88"/>
                    </a:lnTo>
                    <a:lnTo>
                      <a:pt x="179" y="88"/>
                    </a:lnTo>
                    <a:lnTo>
                      <a:pt x="176" y="122"/>
                    </a:lnTo>
                    <a:lnTo>
                      <a:pt x="164" y="122"/>
                    </a:lnTo>
                    <a:lnTo>
                      <a:pt x="159" y="113"/>
                    </a:lnTo>
                    <a:lnTo>
                      <a:pt x="153" y="114"/>
                    </a:lnTo>
                    <a:lnTo>
                      <a:pt x="153" y="122"/>
                    </a:lnTo>
                    <a:lnTo>
                      <a:pt x="143" y="123"/>
                    </a:lnTo>
                    <a:lnTo>
                      <a:pt x="142" y="162"/>
                    </a:lnTo>
                    <a:lnTo>
                      <a:pt x="144" y="173"/>
                    </a:lnTo>
                    <a:lnTo>
                      <a:pt x="155" y="188"/>
                    </a:lnTo>
                    <a:lnTo>
                      <a:pt x="156" y="195"/>
                    </a:lnTo>
                    <a:lnTo>
                      <a:pt x="138" y="202"/>
                    </a:lnTo>
                    <a:lnTo>
                      <a:pt x="127" y="200"/>
                    </a:lnTo>
                    <a:lnTo>
                      <a:pt x="97" y="196"/>
                    </a:lnTo>
                    <a:lnTo>
                      <a:pt x="92" y="188"/>
                    </a:lnTo>
                    <a:lnTo>
                      <a:pt x="55" y="189"/>
                    </a:lnTo>
                    <a:lnTo>
                      <a:pt x="30" y="187"/>
                    </a:lnTo>
                    <a:lnTo>
                      <a:pt x="14" y="180"/>
                    </a:lnTo>
                    <a:lnTo>
                      <a:pt x="0" y="186"/>
                    </a:lnTo>
                    <a:lnTo>
                      <a:pt x="0" y="162"/>
                    </a:lnTo>
                    <a:lnTo>
                      <a:pt x="16" y="133"/>
                    </a:lnTo>
                    <a:lnTo>
                      <a:pt x="24" y="114"/>
                    </a:lnTo>
                    <a:lnTo>
                      <a:pt x="25" y="110"/>
                    </a:lnTo>
                    <a:lnTo>
                      <a:pt x="32" y="108"/>
                    </a:lnTo>
                    <a:lnTo>
                      <a:pt x="35" y="93"/>
                    </a:lnTo>
                    <a:lnTo>
                      <a:pt x="26" y="78"/>
                    </a:lnTo>
                    <a:lnTo>
                      <a:pt x="23" y="59"/>
                    </a:lnTo>
                    <a:lnTo>
                      <a:pt x="21" y="39"/>
                    </a:lnTo>
                    <a:lnTo>
                      <a:pt x="14" y="34"/>
                    </a:lnTo>
                    <a:lnTo>
                      <a:pt x="14" y="12"/>
                    </a:lnTo>
                    <a:lnTo>
                      <a:pt x="5" y="12"/>
                    </a:lnTo>
                    <a:lnTo>
                      <a:pt x="8" y="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78" name="Freeform 215">
                <a:extLst>
                  <a:ext uri="{FF2B5EF4-FFF2-40B4-BE49-F238E27FC236}">
                    <a16:creationId xmlns:a16="http://schemas.microsoft.com/office/drawing/2014/main" id="{55DD8FF1-ED23-49E2-A769-C44F5CD69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8" y="2939"/>
                <a:ext cx="131" cy="168"/>
              </a:xfrm>
              <a:custGeom>
                <a:avLst/>
                <a:gdLst>
                  <a:gd name="T0" fmla="*/ 83 w 116"/>
                  <a:gd name="T1" fmla="*/ 150 h 151"/>
                  <a:gd name="T2" fmla="*/ 60 w 116"/>
                  <a:gd name="T3" fmla="*/ 138 h 151"/>
                  <a:gd name="T4" fmla="*/ 60 w 116"/>
                  <a:gd name="T5" fmla="*/ 126 h 151"/>
                  <a:gd name="T6" fmla="*/ 44 w 116"/>
                  <a:gd name="T7" fmla="*/ 121 h 151"/>
                  <a:gd name="T8" fmla="*/ 15 w 116"/>
                  <a:gd name="T9" fmla="*/ 98 h 151"/>
                  <a:gd name="T10" fmla="*/ 4 w 116"/>
                  <a:gd name="T11" fmla="*/ 98 h 151"/>
                  <a:gd name="T12" fmla="*/ 0 w 116"/>
                  <a:gd name="T13" fmla="*/ 88 h 151"/>
                  <a:gd name="T14" fmla="*/ 3 w 116"/>
                  <a:gd name="T15" fmla="*/ 72 h 151"/>
                  <a:gd name="T16" fmla="*/ 11 w 116"/>
                  <a:gd name="T17" fmla="*/ 56 h 151"/>
                  <a:gd name="T18" fmla="*/ 11 w 116"/>
                  <a:gd name="T19" fmla="*/ 29 h 151"/>
                  <a:gd name="T20" fmla="*/ 3 w 116"/>
                  <a:gd name="T21" fmla="*/ 14 h 151"/>
                  <a:gd name="T22" fmla="*/ 23 w 116"/>
                  <a:gd name="T23" fmla="*/ 0 h 151"/>
                  <a:gd name="T24" fmla="*/ 37 w 116"/>
                  <a:gd name="T25" fmla="*/ 3 h 151"/>
                  <a:gd name="T26" fmla="*/ 51 w 116"/>
                  <a:gd name="T27" fmla="*/ 13 h 151"/>
                  <a:gd name="T28" fmla="*/ 53 w 116"/>
                  <a:gd name="T29" fmla="*/ 23 h 151"/>
                  <a:gd name="T30" fmla="*/ 84 w 116"/>
                  <a:gd name="T31" fmla="*/ 20 h 151"/>
                  <a:gd name="T32" fmla="*/ 84 w 116"/>
                  <a:gd name="T33" fmla="*/ 14 h 151"/>
                  <a:gd name="T34" fmla="*/ 104 w 116"/>
                  <a:gd name="T35" fmla="*/ 13 h 151"/>
                  <a:gd name="T36" fmla="*/ 108 w 116"/>
                  <a:gd name="T37" fmla="*/ 19 h 151"/>
                  <a:gd name="T38" fmla="*/ 115 w 116"/>
                  <a:gd name="T39" fmla="*/ 23 h 151"/>
                  <a:gd name="T40" fmla="*/ 107 w 116"/>
                  <a:gd name="T41" fmla="*/ 29 h 151"/>
                  <a:gd name="T42" fmla="*/ 103 w 116"/>
                  <a:gd name="T43" fmla="*/ 39 h 151"/>
                  <a:gd name="T44" fmla="*/ 106 w 116"/>
                  <a:gd name="T45" fmla="*/ 102 h 151"/>
                  <a:gd name="T46" fmla="*/ 112 w 116"/>
                  <a:gd name="T47" fmla="*/ 105 h 151"/>
                  <a:gd name="T48" fmla="*/ 106 w 116"/>
                  <a:gd name="T49" fmla="*/ 111 h 151"/>
                  <a:gd name="T50" fmla="*/ 101 w 116"/>
                  <a:gd name="T51" fmla="*/ 121 h 151"/>
                  <a:gd name="T52" fmla="*/ 90 w 116"/>
                  <a:gd name="T53" fmla="*/ 131 h 151"/>
                  <a:gd name="T54" fmla="*/ 88 w 116"/>
                  <a:gd name="T55" fmla="*/ 140 h 151"/>
                  <a:gd name="T56" fmla="*/ 83 w 116"/>
                  <a:gd name="T57" fmla="*/ 15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16" h="151">
                    <a:moveTo>
                      <a:pt x="83" y="150"/>
                    </a:moveTo>
                    <a:lnTo>
                      <a:pt x="60" y="138"/>
                    </a:lnTo>
                    <a:lnTo>
                      <a:pt x="60" y="126"/>
                    </a:lnTo>
                    <a:lnTo>
                      <a:pt x="44" y="121"/>
                    </a:lnTo>
                    <a:lnTo>
                      <a:pt x="15" y="98"/>
                    </a:lnTo>
                    <a:lnTo>
                      <a:pt x="4" y="98"/>
                    </a:lnTo>
                    <a:lnTo>
                      <a:pt x="0" y="88"/>
                    </a:lnTo>
                    <a:lnTo>
                      <a:pt x="3" y="72"/>
                    </a:lnTo>
                    <a:lnTo>
                      <a:pt x="11" y="56"/>
                    </a:lnTo>
                    <a:lnTo>
                      <a:pt x="11" y="29"/>
                    </a:lnTo>
                    <a:lnTo>
                      <a:pt x="3" y="14"/>
                    </a:lnTo>
                    <a:lnTo>
                      <a:pt x="23" y="0"/>
                    </a:lnTo>
                    <a:lnTo>
                      <a:pt x="37" y="3"/>
                    </a:lnTo>
                    <a:lnTo>
                      <a:pt x="51" y="13"/>
                    </a:lnTo>
                    <a:lnTo>
                      <a:pt x="53" y="23"/>
                    </a:lnTo>
                    <a:lnTo>
                      <a:pt x="84" y="20"/>
                    </a:lnTo>
                    <a:lnTo>
                      <a:pt x="84" y="14"/>
                    </a:lnTo>
                    <a:lnTo>
                      <a:pt x="104" y="13"/>
                    </a:lnTo>
                    <a:lnTo>
                      <a:pt x="108" y="19"/>
                    </a:lnTo>
                    <a:lnTo>
                      <a:pt x="115" y="23"/>
                    </a:lnTo>
                    <a:lnTo>
                      <a:pt x="107" y="29"/>
                    </a:lnTo>
                    <a:lnTo>
                      <a:pt x="103" y="39"/>
                    </a:lnTo>
                    <a:lnTo>
                      <a:pt x="106" y="102"/>
                    </a:lnTo>
                    <a:lnTo>
                      <a:pt x="112" y="105"/>
                    </a:lnTo>
                    <a:lnTo>
                      <a:pt x="106" y="111"/>
                    </a:lnTo>
                    <a:lnTo>
                      <a:pt x="101" y="121"/>
                    </a:lnTo>
                    <a:lnTo>
                      <a:pt x="90" y="131"/>
                    </a:lnTo>
                    <a:lnTo>
                      <a:pt x="88" y="140"/>
                    </a:lnTo>
                    <a:lnTo>
                      <a:pt x="83" y="15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79" name="Freeform 216">
                <a:extLst>
                  <a:ext uri="{FF2B5EF4-FFF2-40B4-BE49-F238E27FC236}">
                    <a16:creationId xmlns:a16="http://schemas.microsoft.com/office/drawing/2014/main" id="{C286C80B-0E57-44F3-81A3-74D31256F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6" y="2655"/>
                <a:ext cx="229" cy="308"/>
              </a:xfrm>
              <a:custGeom>
                <a:avLst/>
                <a:gdLst>
                  <a:gd name="T0" fmla="*/ 126 w 204"/>
                  <a:gd name="T1" fmla="*/ 275 h 276"/>
                  <a:gd name="T2" fmla="*/ 119 w 204"/>
                  <a:gd name="T3" fmla="*/ 271 h 276"/>
                  <a:gd name="T4" fmla="*/ 115 w 204"/>
                  <a:gd name="T5" fmla="*/ 265 h 276"/>
                  <a:gd name="T6" fmla="*/ 96 w 204"/>
                  <a:gd name="T7" fmla="*/ 267 h 276"/>
                  <a:gd name="T8" fmla="*/ 96 w 204"/>
                  <a:gd name="T9" fmla="*/ 272 h 276"/>
                  <a:gd name="T10" fmla="*/ 64 w 204"/>
                  <a:gd name="T11" fmla="*/ 275 h 276"/>
                  <a:gd name="T12" fmla="*/ 63 w 204"/>
                  <a:gd name="T13" fmla="*/ 265 h 276"/>
                  <a:gd name="T14" fmla="*/ 49 w 204"/>
                  <a:gd name="T15" fmla="*/ 256 h 276"/>
                  <a:gd name="T16" fmla="*/ 35 w 204"/>
                  <a:gd name="T17" fmla="*/ 252 h 276"/>
                  <a:gd name="T18" fmla="*/ 35 w 204"/>
                  <a:gd name="T19" fmla="*/ 243 h 276"/>
                  <a:gd name="T20" fmla="*/ 28 w 204"/>
                  <a:gd name="T21" fmla="*/ 231 h 276"/>
                  <a:gd name="T22" fmla="*/ 24 w 204"/>
                  <a:gd name="T23" fmla="*/ 228 h 276"/>
                  <a:gd name="T24" fmla="*/ 16 w 204"/>
                  <a:gd name="T25" fmla="*/ 223 h 276"/>
                  <a:gd name="T26" fmla="*/ 16 w 204"/>
                  <a:gd name="T27" fmla="*/ 211 h 276"/>
                  <a:gd name="T28" fmla="*/ 8 w 204"/>
                  <a:gd name="T29" fmla="*/ 209 h 276"/>
                  <a:gd name="T30" fmla="*/ 0 w 204"/>
                  <a:gd name="T31" fmla="*/ 195 h 276"/>
                  <a:gd name="T32" fmla="*/ 15 w 204"/>
                  <a:gd name="T33" fmla="*/ 194 h 276"/>
                  <a:gd name="T34" fmla="*/ 19 w 204"/>
                  <a:gd name="T35" fmla="*/ 162 h 276"/>
                  <a:gd name="T36" fmla="*/ 30 w 204"/>
                  <a:gd name="T37" fmla="*/ 161 h 276"/>
                  <a:gd name="T38" fmla="*/ 33 w 204"/>
                  <a:gd name="T39" fmla="*/ 128 h 276"/>
                  <a:gd name="T40" fmla="*/ 52 w 204"/>
                  <a:gd name="T41" fmla="*/ 124 h 276"/>
                  <a:gd name="T42" fmla="*/ 49 w 204"/>
                  <a:gd name="T43" fmla="*/ 85 h 276"/>
                  <a:gd name="T44" fmla="*/ 39 w 204"/>
                  <a:gd name="T45" fmla="*/ 82 h 276"/>
                  <a:gd name="T46" fmla="*/ 40 w 204"/>
                  <a:gd name="T47" fmla="*/ 71 h 276"/>
                  <a:gd name="T48" fmla="*/ 52 w 204"/>
                  <a:gd name="T49" fmla="*/ 72 h 276"/>
                  <a:gd name="T50" fmla="*/ 52 w 204"/>
                  <a:gd name="T51" fmla="*/ 60 h 276"/>
                  <a:gd name="T52" fmla="*/ 46 w 204"/>
                  <a:gd name="T53" fmla="*/ 46 h 276"/>
                  <a:gd name="T54" fmla="*/ 45 w 204"/>
                  <a:gd name="T55" fmla="*/ 27 h 276"/>
                  <a:gd name="T56" fmla="*/ 55 w 204"/>
                  <a:gd name="T57" fmla="*/ 0 h 276"/>
                  <a:gd name="T58" fmla="*/ 60 w 204"/>
                  <a:gd name="T59" fmla="*/ 12 h 276"/>
                  <a:gd name="T60" fmla="*/ 68 w 204"/>
                  <a:gd name="T61" fmla="*/ 25 h 276"/>
                  <a:gd name="T62" fmla="*/ 74 w 204"/>
                  <a:gd name="T63" fmla="*/ 34 h 276"/>
                  <a:gd name="T64" fmla="*/ 84 w 204"/>
                  <a:gd name="T65" fmla="*/ 52 h 276"/>
                  <a:gd name="T66" fmla="*/ 90 w 204"/>
                  <a:gd name="T67" fmla="*/ 63 h 276"/>
                  <a:gd name="T68" fmla="*/ 91 w 204"/>
                  <a:gd name="T69" fmla="*/ 76 h 276"/>
                  <a:gd name="T70" fmla="*/ 108 w 204"/>
                  <a:gd name="T71" fmla="*/ 81 h 276"/>
                  <a:gd name="T72" fmla="*/ 116 w 204"/>
                  <a:gd name="T73" fmla="*/ 100 h 276"/>
                  <a:gd name="T74" fmla="*/ 127 w 204"/>
                  <a:gd name="T75" fmla="*/ 121 h 276"/>
                  <a:gd name="T76" fmla="*/ 123 w 204"/>
                  <a:gd name="T77" fmla="*/ 132 h 276"/>
                  <a:gd name="T78" fmla="*/ 121 w 204"/>
                  <a:gd name="T79" fmla="*/ 159 h 276"/>
                  <a:gd name="T80" fmla="*/ 137 w 204"/>
                  <a:gd name="T81" fmla="*/ 162 h 276"/>
                  <a:gd name="T82" fmla="*/ 148 w 204"/>
                  <a:gd name="T83" fmla="*/ 172 h 276"/>
                  <a:gd name="T84" fmla="*/ 173 w 204"/>
                  <a:gd name="T85" fmla="*/ 195 h 276"/>
                  <a:gd name="T86" fmla="*/ 189 w 204"/>
                  <a:gd name="T87" fmla="*/ 195 h 276"/>
                  <a:gd name="T88" fmla="*/ 203 w 204"/>
                  <a:gd name="T89" fmla="*/ 208 h 276"/>
                  <a:gd name="T90" fmla="*/ 189 w 204"/>
                  <a:gd name="T91" fmla="*/ 220 h 276"/>
                  <a:gd name="T92" fmla="*/ 185 w 204"/>
                  <a:gd name="T93" fmla="*/ 240 h 276"/>
                  <a:gd name="T94" fmla="*/ 171 w 204"/>
                  <a:gd name="T95" fmla="*/ 256 h 276"/>
                  <a:gd name="T96" fmla="*/ 151 w 204"/>
                  <a:gd name="T97" fmla="*/ 260 h 276"/>
                  <a:gd name="T98" fmla="*/ 137 w 204"/>
                  <a:gd name="T99" fmla="*/ 260 h 276"/>
                  <a:gd name="T100" fmla="*/ 126 w 204"/>
                  <a:gd name="T101" fmla="*/ 275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04" h="276">
                    <a:moveTo>
                      <a:pt x="126" y="275"/>
                    </a:moveTo>
                    <a:lnTo>
                      <a:pt x="119" y="271"/>
                    </a:lnTo>
                    <a:lnTo>
                      <a:pt x="115" y="265"/>
                    </a:lnTo>
                    <a:lnTo>
                      <a:pt x="96" y="267"/>
                    </a:lnTo>
                    <a:lnTo>
                      <a:pt x="96" y="272"/>
                    </a:lnTo>
                    <a:lnTo>
                      <a:pt x="64" y="275"/>
                    </a:lnTo>
                    <a:lnTo>
                      <a:pt x="63" y="265"/>
                    </a:lnTo>
                    <a:lnTo>
                      <a:pt x="49" y="256"/>
                    </a:lnTo>
                    <a:lnTo>
                      <a:pt x="35" y="252"/>
                    </a:lnTo>
                    <a:lnTo>
                      <a:pt x="35" y="243"/>
                    </a:lnTo>
                    <a:lnTo>
                      <a:pt x="28" y="231"/>
                    </a:lnTo>
                    <a:lnTo>
                      <a:pt x="24" y="228"/>
                    </a:lnTo>
                    <a:lnTo>
                      <a:pt x="16" y="223"/>
                    </a:lnTo>
                    <a:lnTo>
                      <a:pt x="16" y="211"/>
                    </a:lnTo>
                    <a:lnTo>
                      <a:pt x="8" y="209"/>
                    </a:lnTo>
                    <a:lnTo>
                      <a:pt x="0" y="195"/>
                    </a:lnTo>
                    <a:lnTo>
                      <a:pt x="15" y="194"/>
                    </a:lnTo>
                    <a:lnTo>
                      <a:pt x="19" y="162"/>
                    </a:lnTo>
                    <a:lnTo>
                      <a:pt x="30" y="161"/>
                    </a:lnTo>
                    <a:lnTo>
                      <a:pt x="33" y="128"/>
                    </a:lnTo>
                    <a:lnTo>
                      <a:pt x="52" y="124"/>
                    </a:lnTo>
                    <a:lnTo>
                      <a:pt x="49" y="85"/>
                    </a:lnTo>
                    <a:lnTo>
                      <a:pt x="39" y="82"/>
                    </a:lnTo>
                    <a:lnTo>
                      <a:pt x="40" y="71"/>
                    </a:lnTo>
                    <a:lnTo>
                      <a:pt x="52" y="72"/>
                    </a:lnTo>
                    <a:lnTo>
                      <a:pt x="52" y="60"/>
                    </a:lnTo>
                    <a:lnTo>
                      <a:pt x="46" y="46"/>
                    </a:lnTo>
                    <a:lnTo>
                      <a:pt x="45" y="27"/>
                    </a:lnTo>
                    <a:lnTo>
                      <a:pt x="55" y="0"/>
                    </a:lnTo>
                    <a:lnTo>
                      <a:pt x="60" y="12"/>
                    </a:lnTo>
                    <a:lnTo>
                      <a:pt x="68" y="25"/>
                    </a:lnTo>
                    <a:lnTo>
                      <a:pt x="74" y="34"/>
                    </a:lnTo>
                    <a:lnTo>
                      <a:pt x="84" y="52"/>
                    </a:lnTo>
                    <a:lnTo>
                      <a:pt x="90" y="63"/>
                    </a:lnTo>
                    <a:lnTo>
                      <a:pt x="91" y="76"/>
                    </a:lnTo>
                    <a:lnTo>
                      <a:pt x="108" y="81"/>
                    </a:lnTo>
                    <a:lnTo>
                      <a:pt x="116" y="100"/>
                    </a:lnTo>
                    <a:lnTo>
                      <a:pt x="127" y="121"/>
                    </a:lnTo>
                    <a:lnTo>
                      <a:pt x="123" y="132"/>
                    </a:lnTo>
                    <a:lnTo>
                      <a:pt x="121" y="159"/>
                    </a:lnTo>
                    <a:lnTo>
                      <a:pt x="137" y="162"/>
                    </a:lnTo>
                    <a:lnTo>
                      <a:pt x="148" y="172"/>
                    </a:lnTo>
                    <a:lnTo>
                      <a:pt x="173" y="195"/>
                    </a:lnTo>
                    <a:lnTo>
                      <a:pt x="189" y="195"/>
                    </a:lnTo>
                    <a:lnTo>
                      <a:pt x="203" y="208"/>
                    </a:lnTo>
                    <a:lnTo>
                      <a:pt x="189" y="220"/>
                    </a:lnTo>
                    <a:lnTo>
                      <a:pt x="185" y="240"/>
                    </a:lnTo>
                    <a:lnTo>
                      <a:pt x="171" y="256"/>
                    </a:lnTo>
                    <a:lnTo>
                      <a:pt x="151" y="260"/>
                    </a:lnTo>
                    <a:lnTo>
                      <a:pt x="137" y="260"/>
                    </a:lnTo>
                    <a:lnTo>
                      <a:pt x="126" y="27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80" name="Freeform 217">
                <a:extLst>
                  <a:ext uri="{FF2B5EF4-FFF2-40B4-BE49-F238E27FC236}">
                    <a16:creationId xmlns:a16="http://schemas.microsoft.com/office/drawing/2014/main" id="{3F8108A9-1937-46E0-A355-E32C56EB8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4" y="2799"/>
                <a:ext cx="174" cy="259"/>
              </a:xfrm>
              <a:custGeom>
                <a:avLst/>
                <a:gdLst>
                  <a:gd name="T0" fmla="*/ 23 w 155"/>
                  <a:gd name="T1" fmla="*/ 33 h 231"/>
                  <a:gd name="T2" fmla="*/ 34 w 155"/>
                  <a:gd name="T3" fmla="*/ 43 h 231"/>
                  <a:gd name="T4" fmla="*/ 58 w 155"/>
                  <a:gd name="T5" fmla="*/ 67 h 231"/>
                  <a:gd name="T6" fmla="*/ 75 w 155"/>
                  <a:gd name="T7" fmla="*/ 66 h 231"/>
                  <a:gd name="T8" fmla="*/ 89 w 155"/>
                  <a:gd name="T9" fmla="*/ 80 h 231"/>
                  <a:gd name="T10" fmla="*/ 74 w 155"/>
                  <a:gd name="T11" fmla="*/ 92 h 231"/>
                  <a:gd name="T12" fmla="*/ 71 w 155"/>
                  <a:gd name="T13" fmla="*/ 112 h 231"/>
                  <a:gd name="T14" fmla="*/ 57 w 155"/>
                  <a:gd name="T15" fmla="*/ 127 h 231"/>
                  <a:gd name="T16" fmla="*/ 37 w 155"/>
                  <a:gd name="T17" fmla="*/ 132 h 231"/>
                  <a:gd name="T18" fmla="*/ 23 w 155"/>
                  <a:gd name="T19" fmla="*/ 132 h 231"/>
                  <a:gd name="T20" fmla="*/ 12 w 155"/>
                  <a:gd name="T21" fmla="*/ 147 h 231"/>
                  <a:gd name="T22" fmla="*/ 4 w 155"/>
                  <a:gd name="T23" fmla="*/ 154 h 231"/>
                  <a:gd name="T24" fmla="*/ 0 w 155"/>
                  <a:gd name="T25" fmla="*/ 163 h 231"/>
                  <a:gd name="T26" fmla="*/ 3 w 155"/>
                  <a:gd name="T27" fmla="*/ 227 h 231"/>
                  <a:gd name="T28" fmla="*/ 8 w 155"/>
                  <a:gd name="T29" fmla="*/ 230 h 231"/>
                  <a:gd name="T30" fmla="*/ 19 w 155"/>
                  <a:gd name="T31" fmla="*/ 216 h 231"/>
                  <a:gd name="T32" fmla="*/ 28 w 155"/>
                  <a:gd name="T33" fmla="*/ 201 h 231"/>
                  <a:gd name="T34" fmla="*/ 45 w 155"/>
                  <a:gd name="T35" fmla="*/ 189 h 231"/>
                  <a:gd name="T36" fmla="*/ 72 w 155"/>
                  <a:gd name="T37" fmla="*/ 165 h 231"/>
                  <a:gd name="T38" fmla="*/ 98 w 155"/>
                  <a:gd name="T39" fmla="*/ 138 h 231"/>
                  <a:gd name="T40" fmla="*/ 114 w 155"/>
                  <a:gd name="T41" fmla="*/ 115 h 231"/>
                  <a:gd name="T42" fmla="*/ 120 w 155"/>
                  <a:gd name="T43" fmla="*/ 87 h 231"/>
                  <a:gd name="T44" fmla="*/ 129 w 155"/>
                  <a:gd name="T45" fmla="*/ 67 h 231"/>
                  <a:gd name="T46" fmla="*/ 141 w 155"/>
                  <a:gd name="T47" fmla="*/ 51 h 231"/>
                  <a:gd name="T48" fmla="*/ 146 w 155"/>
                  <a:gd name="T49" fmla="*/ 33 h 231"/>
                  <a:gd name="T50" fmla="*/ 154 w 155"/>
                  <a:gd name="T51" fmla="*/ 25 h 231"/>
                  <a:gd name="T52" fmla="*/ 146 w 155"/>
                  <a:gd name="T53" fmla="*/ 15 h 231"/>
                  <a:gd name="T54" fmla="*/ 134 w 155"/>
                  <a:gd name="T55" fmla="*/ 0 h 231"/>
                  <a:gd name="T56" fmla="*/ 118 w 155"/>
                  <a:gd name="T57" fmla="*/ 14 h 231"/>
                  <a:gd name="T58" fmla="*/ 103 w 155"/>
                  <a:gd name="T59" fmla="*/ 17 h 231"/>
                  <a:gd name="T60" fmla="*/ 93 w 155"/>
                  <a:gd name="T61" fmla="*/ 22 h 231"/>
                  <a:gd name="T62" fmla="*/ 84 w 155"/>
                  <a:gd name="T63" fmla="*/ 29 h 231"/>
                  <a:gd name="T64" fmla="*/ 54 w 155"/>
                  <a:gd name="T65" fmla="*/ 26 h 231"/>
                  <a:gd name="T66" fmla="*/ 37 w 155"/>
                  <a:gd name="T67" fmla="*/ 20 h 231"/>
                  <a:gd name="T68" fmla="*/ 23 w 155"/>
                  <a:gd name="T69" fmla="*/ 33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5" h="231">
                    <a:moveTo>
                      <a:pt x="23" y="33"/>
                    </a:moveTo>
                    <a:lnTo>
                      <a:pt x="34" y="43"/>
                    </a:lnTo>
                    <a:lnTo>
                      <a:pt x="58" y="67"/>
                    </a:lnTo>
                    <a:lnTo>
                      <a:pt x="75" y="66"/>
                    </a:lnTo>
                    <a:lnTo>
                      <a:pt x="89" y="80"/>
                    </a:lnTo>
                    <a:lnTo>
                      <a:pt x="74" y="92"/>
                    </a:lnTo>
                    <a:lnTo>
                      <a:pt x="71" y="112"/>
                    </a:lnTo>
                    <a:lnTo>
                      <a:pt x="57" y="127"/>
                    </a:lnTo>
                    <a:lnTo>
                      <a:pt x="37" y="132"/>
                    </a:lnTo>
                    <a:lnTo>
                      <a:pt x="23" y="132"/>
                    </a:lnTo>
                    <a:lnTo>
                      <a:pt x="12" y="147"/>
                    </a:lnTo>
                    <a:lnTo>
                      <a:pt x="4" y="154"/>
                    </a:lnTo>
                    <a:lnTo>
                      <a:pt x="0" y="163"/>
                    </a:lnTo>
                    <a:lnTo>
                      <a:pt x="3" y="227"/>
                    </a:lnTo>
                    <a:lnTo>
                      <a:pt x="8" y="230"/>
                    </a:lnTo>
                    <a:lnTo>
                      <a:pt x="19" y="216"/>
                    </a:lnTo>
                    <a:lnTo>
                      <a:pt x="28" y="201"/>
                    </a:lnTo>
                    <a:lnTo>
                      <a:pt x="45" y="189"/>
                    </a:lnTo>
                    <a:lnTo>
                      <a:pt x="72" y="165"/>
                    </a:lnTo>
                    <a:lnTo>
                      <a:pt x="98" y="138"/>
                    </a:lnTo>
                    <a:lnTo>
                      <a:pt x="114" y="115"/>
                    </a:lnTo>
                    <a:lnTo>
                      <a:pt x="120" y="87"/>
                    </a:lnTo>
                    <a:lnTo>
                      <a:pt x="129" y="67"/>
                    </a:lnTo>
                    <a:lnTo>
                      <a:pt x="141" y="51"/>
                    </a:lnTo>
                    <a:lnTo>
                      <a:pt x="146" y="33"/>
                    </a:lnTo>
                    <a:lnTo>
                      <a:pt x="154" y="25"/>
                    </a:lnTo>
                    <a:lnTo>
                      <a:pt x="146" y="15"/>
                    </a:lnTo>
                    <a:lnTo>
                      <a:pt x="134" y="0"/>
                    </a:lnTo>
                    <a:lnTo>
                      <a:pt x="118" y="14"/>
                    </a:lnTo>
                    <a:lnTo>
                      <a:pt x="103" y="17"/>
                    </a:lnTo>
                    <a:lnTo>
                      <a:pt x="93" y="22"/>
                    </a:lnTo>
                    <a:lnTo>
                      <a:pt x="84" y="29"/>
                    </a:lnTo>
                    <a:lnTo>
                      <a:pt x="54" y="26"/>
                    </a:lnTo>
                    <a:lnTo>
                      <a:pt x="37" y="20"/>
                    </a:lnTo>
                    <a:lnTo>
                      <a:pt x="23" y="3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81" name="Freeform 218">
                <a:extLst>
                  <a:ext uri="{FF2B5EF4-FFF2-40B4-BE49-F238E27FC236}">
                    <a16:creationId xmlns:a16="http://schemas.microsoft.com/office/drawing/2014/main" id="{7AF6E395-1312-4E61-A1E7-A04DFEE482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4" y="2395"/>
                <a:ext cx="249" cy="297"/>
              </a:xfrm>
              <a:custGeom>
                <a:avLst/>
                <a:gdLst>
                  <a:gd name="T0" fmla="*/ 28 w 221"/>
                  <a:gd name="T1" fmla="*/ 2 h 264"/>
                  <a:gd name="T2" fmla="*/ 40 w 221"/>
                  <a:gd name="T3" fmla="*/ 8 h 264"/>
                  <a:gd name="T4" fmla="*/ 48 w 221"/>
                  <a:gd name="T5" fmla="*/ 9 h 264"/>
                  <a:gd name="T6" fmla="*/ 81 w 221"/>
                  <a:gd name="T7" fmla="*/ 15 h 264"/>
                  <a:gd name="T8" fmla="*/ 85 w 221"/>
                  <a:gd name="T9" fmla="*/ 27 h 264"/>
                  <a:gd name="T10" fmla="*/ 108 w 221"/>
                  <a:gd name="T11" fmla="*/ 31 h 264"/>
                  <a:gd name="T12" fmla="*/ 109 w 221"/>
                  <a:gd name="T13" fmla="*/ 38 h 264"/>
                  <a:gd name="T14" fmla="*/ 129 w 221"/>
                  <a:gd name="T15" fmla="*/ 42 h 264"/>
                  <a:gd name="T16" fmla="*/ 142 w 221"/>
                  <a:gd name="T17" fmla="*/ 48 h 264"/>
                  <a:gd name="T18" fmla="*/ 146 w 221"/>
                  <a:gd name="T19" fmla="*/ 41 h 264"/>
                  <a:gd name="T20" fmla="*/ 146 w 221"/>
                  <a:gd name="T21" fmla="*/ 20 h 264"/>
                  <a:gd name="T22" fmla="*/ 152 w 221"/>
                  <a:gd name="T23" fmla="*/ 14 h 264"/>
                  <a:gd name="T24" fmla="*/ 158 w 221"/>
                  <a:gd name="T25" fmla="*/ 5 h 264"/>
                  <a:gd name="T26" fmla="*/ 164 w 221"/>
                  <a:gd name="T27" fmla="*/ 0 h 264"/>
                  <a:gd name="T28" fmla="*/ 179 w 221"/>
                  <a:gd name="T29" fmla="*/ 1 h 264"/>
                  <a:gd name="T30" fmla="*/ 187 w 221"/>
                  <a:gd name="T31" fmla="*/ 9 h 264"/>
                  <a:gd name="T32" fmla="*/ 195 w 221"/>
                  <a:gd name="T33" fmla="*/ 16 h 264"/>
                  <a:gd name="T34" fmla="*/ 208 w 221"/>
                  <a:gd name="T35" fmla="*/ 16 h 264"/>
                  <a:gd name="T36" fmla="*/ 220 w 221"/>
                  <a:gd name="T37" fmla="*/ 20 h 264"/>
                  <a:gd name="T38" fmla="*/ 219 w 221"/>
                  <a:gd name="T39" fmla="*/ 34 h 264"/>
                  <a:gd name="T40" fmla="*/ 219 w 221"/>
                  <a:gd name="T41" fmla="*/ 210 h 264"/>
                  <a:gd name="T42" fmla="*/ 218 w 221"/>
                  <a:gd name="T43" fmla="*/ 234 h 264"/>
                  <a:gd name="T44" fmla="*/ 208 w 221"/>
                  <a:gd name="T45" fmla="*/ 237 h 264"/>
                  <a:gd name="T46" fmla="*/ 211 w 221"/>
                  <a:gd name="T47" fmla="*/ 263 h 264"/>
                  <a:gd name="T48" fmla="*/ 201 w 221"/>
                  <a:gd name="T49" fmla="*/ 261 h 264"/>
                  <a:gd name="T50" fmla="*/ 177 w 221"/>
                  <a:gd name="T51" fmla="*/ 243 h 264"/>
                  <a:gd name="T52" fmla="*/ 168 w 221"/>
                  <a:gd name="T53" fmla="*/ 238 h 264"/>
                  <a:gd name="T54" fmla="*/ 146 w 221"/>
                  <a:gd name="T55" fmla="*/ 227 h 264"/>
                  <a:gd name="T56" fmla="*/ 138 w 221"/>
                  <a:gd name="T57" fmla="*/ 214 h 264"/>
                  <a:gd name="T58" fmla="*/ 113 w 221"/>
                  <a:gd name="T59" fmla="*/ 210 h 264"/>
                  <a:gd name="T60" fmla="*/ 108 w 221"/>
                  <a:gd name="T61" fmla="*/ 198 h 264"/>
                  <a:gd name="T62" fmla="*/ 95 w 221"/>
                  <a:gd name="T63" fmla="*/ 193 h 264"/>
                  <a:gd name="T64" fmla="*/ 95 w 221"/>
                  <a:gd name="T65" fmla="*/ 187 h 264"/>
                  <a:gd name="T66" fmla="*/ 80 w 221"/>
                  <a:gd name="T67" fmla="*/ 186 h 264"/>
                  <a:gd name="T68" fmla="*/ 72 w 221"/>
                  <a:gd name="T69" fmla="*/ 182 h 264"/>
                  <a:gd name="T70" fmla="*/ 54 w 221"/>
                  <a:gd name="T71" fmla="*/ 181 h 264"/>
                  <a:gd name="T72" fmla="*/ 52 w 221"/>
                  <a:gd name="T73" fmla="*/ 173 h 264"/>
                  <a:gd name="T74" fmla="*/ 34 w 221"/>
                  <a:gd name="T75" fmla="*/ 173 h 264"/>
                  <a:gd name="T76" fmla="*/ 32 w 221"/>
                  <a:gd name="T77" fmla="*/ 159 h 264"/>
                  <a:gd name="T78" fmla="*/ 9 w 221"/>
                  <a:gd name="T79" fmla="*/ 155 h 264"/>
                  <a:gd name="T80" fmla="*/ 2 w 221"/>
                  <a:gd name="T81" fmla="*/ 148 h 264"/>
                  <a:gd name="T82" fmla="*/ 0 w 221"/>
                  <a:gd name="T83" fmla="*/ 130 h 264"/>
                  <a:gd name="T84" fmla="*/ 3 w 221"/>
                  <a:gd name="T85" fmla="*/ 33 h 264"/>
                  <a:gd name="T86" fmla="*/ 18 w 221"/>
                  <a:gd name="T87" fmla="*/ 26 h 264"/>
                  <a:gd name="T88" fmla="*/ 25 w 221"/>
                  <a:gd name="T89" fmla="*/ 24 h 264"/>
                  <a:gd name="T90" fmla="*/ 28 w 221"/>
                  <a:gd name="T91" fmla="*/ 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1" h="264">
                    <a:moveTo>
                      <a:pt x="28" y="2"/>
                    </a:moveTo>
                    <a:lnTo>
                      <a:pt x="40" y="8"/>
                    </a:lnTo>
                    <a:lnTo>
                      <a:pt x="48" y="9"/>
                    </a:lnTo>
                    <a:lnTo>
                      <a:pt x="81" y="15"/>
                    </a:lnTo>
                    <a:lnTo>
                      <a:pt x="85" y="27"/>
                    </a:lnTo>
                    <a:lnTo>
                      <a:pt x="108" y="31"/>
                    </a:lnTo>
                    <a:lnTo>
                      <a:pt x="109" y="38"/>
                    </a:lnTo>
                    <a:lnTo>
                      <a:pt x="129" y="42"/>
                    </a:lnTo>
                    <a:lnTo>
                      <a:pt x="142" y="48"/>
                    </a:lnTo>
                    <a:lnTo>
                      <a:pt x="146" y="41"/>
                    </a:lnTo>
                    <a:lnTo>
                      <a:pt x="146" y="20"/>
                    </a:lnTo>
                    <a:lnTo>
                      <a:pt x="152" y="14"/>
                    </a:lnTo>
                    <a:lnTo>
                      <a:pt x="158" y="5"/>
                    </a:lnTo>
                    <a:lnTo>
                      <a:pt x="164" y="0"/>
                    </a:lnTo>
                    <a:lnTo>
                      <a:pt x="179" y="1"/>
                    </a:lnTo>
                    <a:lnTo>
                      <a:pt x="187" y="9"/>
                    </a:lnTo>
                    <a:lnTo>
                      <a:pt x="195" y="16"/>
                    </a:lnTo>
                    <a:lnTo>
                      <a:pt x="208" y="16"/>
                    </a:lnTo>
                    <a:lnTo>
                      <a:pt x="220" y="20"/>
                    </a:lnTo>
                    <a:lnTo>
                      <a:pt x="219" y="34"/>
                    </a:lnTo>
                    <a:lnTo>
                      <a:pt x="219" y="210"/>
                    </a:lnTo>
                    <a:lnTo>
                      <a:pt x="218" y="234"/>
                    </a:lnTo>
                    <a:lnTo>
                      <a:pt x="208" y="237"/>
                    </a:lnTo>
                    <a:lnTo>
                      <a:pt x="211" y="263"/>
                    </a:lnTo>
                    <a:lnTo>
                      <a:pt x="201" y="261"/>
                    </a:lnTo>
                    <a:lnTo>
                      <a:pt x="177" y="243"/>
                    </a:lnTo>
                    <a:lnTo>
                      <a:pt x="168" y="238"/>
                    </a:lnTo>
                    <a:lnTo>
                      <a:pt x="146" y="227"/>
                    </a:lnTo>
                    <a:lnTo>
                      <a:pt x="138" y="214"/>
                    </a:lnTo>
                    <a:lnTo>
                      <a:pt x="113" y="210"/>
                    </a:lnTo>
                    <a:lnTo>
                      <a:pt x="108" y="198"/>
                    </a:lnTo>
                    <a:lnTo>
                      <a:pt x="95" y="193"/>
                    </a:lnTo>
                    <a:lnTo>
                      <a:pt x="95" y="187"/>
                    </a:lnTo>
                    <a:lnTo>
                      <a:pt x="80" y="186"/>
                    </a:lnTo>
                    <a:lnTo>
                      <a:pt x="72" y="182"/>
                    </a:lnTo>
                    <a:lnTo>
                      <a:pt x="54" y="181"/>
                    </a:lnTo>
                    <a:lnTo>
                      <a:pt x="52" y="173"/>
                    </a:lnTo>
                    <a:lnTo>
                      <a:pt x="34" y="173"/>
                    </a:lnTo>
                    <a:lnTo>
                      <a:pt x="32" y="159"/>
                    </a:lnTo>
                    <a:lnTo>
                      <a:pt x="9" y="155"/>
                    </a:lnTo>
                    <a:lnTo>
                      <a:pt x="2" y="148"/>
                    </a:lnTo>
                    <a:lnTo>
                      <a:pt x="0" y="130"/>
                    </a:lnTo>
                    <a:lnTo>
                      <a:pt x="3" y="33"/>
                    </a:lnTo>
                    <a:lnTo>
                      <a:pt x="18" y="26"/>
                    </a:lnTo>
                    <a:lnTo>
                      <a:pt x="25" y="24"/>
                    </a:lnTo>
                    <a:lnTo>
                      <a:pt x="28" y="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82" name="Freeform 219">
                <a:extLst>
                  <a:ext uri="{FF2B5EF4-FFF2-40B4-BE49-F238E27FC236}">
                    <a16:creationId xmlns:a16="http://schemas.microsoft.com/office/drawing/2014/main" id="{63566A76-E8A9-4BC2-9E0C-DF8ED820C2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1" y="2601"/>
                <a:ext cx="247" cy="360"/>
              </a:xfrm>
              <a:custGeom>
                <a:avLst/>
                <a:gdLst>
                  <a:gd name="T0" fmla="*/ 34 w 220"/>
                  <a:gd name="T1" fmla="*/ 121 h 320"/>
                  <a:gd name="T2" fmla="*/ 16 w 220"/>
                  <a:gd name="T3" fmla="*/ 141 h 320"/>
                  <a:gd name="T4" fmla="*/ 2 w 220"/>
                  <a:gd name="T5" fmla="*/ 156 h 320"/>
                  <a:gd name="T6" fmla="*/ 11 w 220"/>
                  <a:gd name="T7" fmla="*/ 170 h 320"/>
                  <a:gd name="T8" fmla="*/ 20 w 220"/>
                  <a:gd name="T9" fmla="*/ 184 h 320"/>
                  <a:gd name="T10" fmla="*/ 18 w 220"/>
                  <a:gd name="T11" fmla="*/ 196 h 320"/>
                  <a:gd name="T12" fmla="*/ 31 w 220"/>
                  <a:gd name="T13" fmla="*/ 221 h 320"/>
                  <a:gd name="T14" fmla="*/ 36 w 220"/>
                  <a:gd name="T15" fmla="*/ 237 h 320"/>
                  <a:gd name="T16" fmla="*/ 48 w 220"/>
                  <a:gd name="T17" fmla="*/ 243 h 320"/>
                  <a:gd name="T18" fmla="*/ 64 w 220"/>
                  <a:gd name="T19" fmla="*/ 260 h 320"/>
                  <a:gd name="T20" fmla="*/ 74 w 220"/>
                  <a:gd name="T21" fmla="*/ 278 h 320"/>
                  <a:gd name="T22" fmla="*/ 81 w 220"/>
                  <a:gd name="T23" fmla="*/ 289 h 320"/>
                  <a:gd name="T24" fmla="*/ 85 w 220"/>
                  <a:gd name="T25" fmla="*/ 304 h 320"/>
                  <a:gd name="T26" fmla="*/ 123 w 220"/>
                  <a:gd name="T27" fmla="*/ 314 h 320"/>
                  <a:gd name="T28" fmla="*/ 133 w 220"/>
                  <a:gd name="T29" fmla="*/ 318 h 320"/>
                  <a:gd name="T30" fmla="*/ 162 w 220"/>
                  <a:gd name="T31" fmla="*/ 319 h 320"/>
                  <a:gd name="T32" fmla="*/ 199 w 220"/>
                  <a:gd name="T33" fmla="*/ 299 h 320"/>
                  <a:gd name="T34" fmla="*/ 192 w 220"/>
                  <a:gd name="T35" fmla="*/ 278 h 320"/>
                  <a:gd name="T36" fmla="*/ 180 w 220"/>
                  <a:gd name="T37" fmla="*/ 270 h 320"/>
                  <a:gd name="T38" fmla="*/ 172 w 220"/>
                  <a:gd name="T39" fmla="*/ 256 h 320"/>
                  <a:gd name="T40" fmla="*/ 179 w 220"/>
                  <a:gd name="T41" fmla="*/ 241 h 320"/>
                  <a:gd name="T42" fmla="*/ 194 w 220"/>
                  <a:gd name="T43" fmla="*/ 208 h 320"/>
                  <a:gd name="T44" fmla="*/ 216 w 220"/>
                  <a:gd name="T45" fmla="*/ 171 h 320"/>
                  <a:gd name="T46" fmla="*/ 203 w 220"/>
                  <a:gd name="T47" fmla="*/ 129 h 320"/>
                  <a:gd name="T48" fmla="*/ 216 w 220"/>
                  <a:gd name="T49" fmla="*/ 119 h 320"/>
                  <a:gd name="T50" fmla="*/ 210 w 220"/>
                  <a:gd name="T51" fmla="*/ 92 h 320"/>
                  <a:gd name="T52" fmla="*/ 219 w 220"/>
                  <a:gd name="T53" fmla="*/ 47 h 320"/>
                  <a:gd name="T54" fmla="*/ 210 w 220"/>
                  <a:gd name="T55" fmla="*/ 14 h 320"/>
                  <a:gd name="T56" fmla="*/ 167 w 220"/>
                  <a:gd name="T57" fmla="*/ 20 h 320"/>
                  <a:gd name="T58" fmla="*/ 64 w 220"/>
                  <a:gd name="T59" fmla="*/ 13 h 320"/>
                  <a:gd name="T60" fmla="*/ 44 w 220"/>
                  <a:gd name="T61" fmla="*/ 25 h 320"/>
                  <a:gd name="T62" fmla="*/ 33 w 220"/>
                  <a:gd name="T63" fmla="*/ 5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0" h="320">
                    <a:moveTo>
                      <a:pt x="36" y="79"/>
                    </a:moveTo>
                    <a:lnTo>
                      <a:pt x="34" y="121"/>
                    </a:lnTo>
                    <a:lnTo>
                      <a:pt x="25" y="125"/>
                    </a:lnTo>
                    <a:lnTo>
                      <a:pt x="16" y="141"/>
                    </a:lnTo>
                    <a:lnTo>
                      <a:pt x="13" y="155"/>
                    </a:lnTo>
                    <a:lnTo>
                      <a:pt x="2" y="156"/>
                    </a:lnTo>
                    <a:lnTo>
                      <a:pt x="0" y="165"/>
                    </a:lnTo>
                    <a:lnTo>
                      <a:pt x="11" y="170"/>
                    </a:lnTo>
                    <a:lnTo>
                      <a:pt x="14" y="182"/>
                    </a:lnTo>
                    <a:lnTo>
                      <a:pt x="20" y="184"/>
                    </a:lnTo>
                    <a:lnTo>
                      <a:pt x="20" y="191"/>
                    </a:lnTo>
                    <a:lnTo>
                      <a:pt x="18" y="196"/>
                    </a:lnTo>
                    <a:lnTo>
                      <a:pt x="25" y="207"/>
                    </a:lnTo>
                    <a:lnTo>
                      <a:pt x="31" y="221"/>
                    </a:lnTo>
                    <a:lnTo>
                      <a:pt x="30" y="234"/>
                    </a:lnTo>
                    <a:lnTo>
                      <a:pt x="36" y="237"/>
                    </a:lnTo>
                    <a:lnTo>
                      <a:pt x="37" y="245"/>
                    </a:lnTo>
                    <a:lnTo>
                      <a:pt x="48" y="243"/>
                    </a:lnTo>
                    <a:lnTo>
                      <a:pt x="52" y="256"/>
                    </a:lnTo>
                    <a:lnTo>
                      <a:pt x="64" y="260"/>
                    </a:lnTo>
                    <a:lnTo>
                      <a:pt x="67" y="276"/>
                    </a:lnTo>
                    <a:lnTo>
                      <a:pt x="74" y="278"/>
                    </a:lnTo>
                    <a:lnTo>
                      <a:pt x="79" y="284"/>
                    </a:lnTo>
                    <a:lnTo>
                      <a:pt x="81" y="289"/>
                    </a:lnTo>
                    <a:lnTo>
                      <a:pt x="79" y="296"/>
                    </a:lnTo>
                    <a:lnTo>
                      <a:pt x="85" y="304"/>
                    </a:lnTo>
                    <a:lnTo>
                      <a:pt x="118" y="306"/>
                    </a:lnTo>
                    <a:lnTo>
                      <a:pt x="123" y="314"/>
                    </a:lnTo>
                    <a:lnTo>
                      <a:pt x="133" y="316"/>
                    </a:lnTo>
                    <a:lnTo>
                      <a:pt x="133" y="318"/>
                    </a:lnTo>
                    <a:lnTo>
                      <a:pt x="148" y="318"/>
                    </a:lnTo>
                    <a:lnTo>
                      <a:pt x="162" y="319"/>
                    </a:lnTo>
                    <a:lnTo>
                      <a:pt x="178" y="314"/>
                    </a:lnTo>
                    <a:lnTo>
                      <a:pt x="199" y="299"/>
                    </a:lnTo>
                    <a:lnTo>
                      <a:pt x="199" y="290"/>
                    </a:lnTo>
                    <a:lnTo>
                      <a:pt x="192" y="278"/>
                    </a:lnTo>
                    <a:lnTo>
                      <a:pt x="188" y="275"/>
                    </a:lnTo>
                    <a:lnTo>
                      <a:pt x="180" y="270"/>
                    </a:lnTo>
                    <a:lnTo>
                      <a:pt x="180" y="258"/>
                    </a:lnTo>
                    <a:lnTo>
                      <a:pt x="172" y="256"/>
                    </a:lnTo>
                    <a:lnTo>
                      <a:pt x="164" y="242"/>
                    </a:lnTo>
                    <a:lnTo>
                      <a:pt x="179" y="241"/>
                    </a:lnTo>
                    <a:lnTo>
                      <a:pt x="183" y="209"/>
                    </a:lnTo>
                    <a:lnTo>
                      <a:pt x="194" y="208"/>
                    </a:lnTo>
                    <a:lnTo>
                      <a:pt x="197" y="175"/>
                    </a:lnTo>
                    <a:lnTo>
                      <a:pt x="216" y="171"/>
                    </a:lnTo>
                    <a:lnTo>
                      <a:pt x="213" y="132"/>
                    </a:lnTo>
                    <a:lnTo>
                      <a:pt x="203" y="129"/>
                    </a:lnTo>
                    <a:lnTo>
                      <a:pt x="204" y="118"/>
                    </a:lnTo>
                    <a:lnTo>
                      <a:pt x="216" y="119"/>
                    </a:lnTo>
                    <a:lnTo>
                      <a:pt x="216" y="107"/>
                    </a:lnTo>
                    <a:lnTo>
                      <a:pt x="210" y="92"/>
                    </a:lnTo>
                    <a:lnTo>
                      <a:pt x="209" y="74"/>
                    </a:lnTo>
                    <a:lnTo>
                      <a:pt x="219" y="47"/>
                    </a:lnTo>
                    <a:lnTo>
                      <a:pt x="217" y="33"/>
                    </a:lnTo>
                    <a:lnTo>
                      <a:pt x="210" y="14"/>
                    </a:lnTo>
                    <a:lnTo>
                      <a:pt x="191" y="0"/>
                    </a:lnTo>
                    <a:lnTo>
                      <a:pt x="167" y="20"/>
                    </a:lnTo>
                    <a:lnTo>
                      <a:pt x="158" y="13"/>
                    </a:lnTo>
                    <a:lnTo>
                      <a:pt x="64" y="13"/>
                    </a:lnTo>
                    <a:lnTo>
                      <a:pt x="53" y="20"/>
                    </a:lnTo>
                    <a:lnTo>
                      <a:pt x="44" y="25"/>
                    </a:lnTo>
                    <a:lnTo>
                      <a:pt x="43" y="50"/>
                    </a:lnTo>
                    <a:lnTo>
                      <a:pt x="33" y="53"/>
                    </a:lnTo>
                    <a:lnTo>
                      <a:pt x="36" y="7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83" name="Freeform 220">
                <a:extLst>
                  <a:ext uri="{FF2B5EF4-FFF2-40B4-BE49-F238E27FC236}">
                    <a16:creationId xmlns:a16="http://schemas.microsoft.com/office/drawing/2014/main" id="{E5C58D71-33A6-4A2E-B931-466EC10A3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2" y="2807"/>
                <a:ext cx="35" cy="67"/>
              </a:xfrm>
              <a:custGeom>
                <a:avLst/>
                <a:gdLst>
                  <a:gd name="T0" fmla="*/ 23 w 33"/>
                  <a:gd name="T1" fmla="*/ 6 h 60"/>
                  <a:gd name="T2" fmla="*/ 21 w 33"/>
                  <a:gd name="T3" fmla="*/ 17 h 60"/>
                  <a:gd name="T4" fmla="*/ 8 w 33"/>
                  <a:gd name="T5" fmla="*/ 27 h 60"/>
                  <a:gd name="T6" fmla="*/ 0 w 33"/>
                  <a:gd name="T7" fmla="*/ 39 h 60"/>
                  <a:gd name="T8" fmla="*/ 2 w 33"/>
                  <a:gd name="T9" fmla="*/ 59 h 60"/>
                  <a:gd name="T10" fmla="*/ 17 w 33"/>
                  <a:gd name="T11" fmla="*/ 44 h 60"/>
                  <a:gd name="T12" fmla="*/ 27 w 33"/>
                  <a:gd name="T13" fmla="*/ 24 h 60"/>
                  <a:gd name="T14" fmla="*/ 32 w 33"/>
                  <a:gd name="T15" fmla="*/ 11 h 60"/>
                  <a:gd name="T16" fmla="*/ 27 w 33"/>
                  <a:gd name="T17" fmla="*/ 0 h 60"/>
                  <a:gd name="T18" fmla="*/ 23 w 33"/>
                  <a:gd name="T19" fmla="*/ 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" h="60">
                    <a:moveTo>
                      <a:pt x="23" y="6"/>
                    </a:moveTo>
                    <a:lnTo>
                      <a:pt x="21" y="17"/>
                    </a:lnTo>
                    <a:lnTo>
                      <a:pt x="8" y="27"/>
                    </a:lnTo>
                    <a:lnTo>
                      <a:pt x="0" y="39"/>
                    </a:lnTo>
                    <a:lnTo>
                      <a:pt x="2" y="59"/>
                    </a:lnTo>
                    <a:lnTo>
                      <a:pt x="17" y="44"/>
                    </a:lnTo>
                    <a:lnTo>
                      <a:pt x="27" y="24"/>
                    </a:lnTo>
                    <a:lnTo>
                      <a:pt x="32" y="11"/>
                    </a:lnTo>
                    <a:lnTo>
                      <a:pt x="27" y="0"/>
                    </a:lnTo>
                    <a:lnTo>
                      <a:pt x="23" y="6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84" name="Freeform 221">
                <a:extLst>
                  <a:ext uri="{FF2B5EF4-FFF2-40B4-BE49-F238E27FC236}">
                    <a16:creationId xmlns:a16="http://schemas.microsoft.com/office/drawing/2014/main" id="{61B5ED0A-FE87-4242-A829-83D14AAA51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4" y="2671"/>
                <a:ext cx="56" cy="88"/>
              </a:xfrm>
              <a:custGeom>
                <a:avLst/>
                <a:gdLst>
                  <a:gd name="T0" fmla="*/ 24 w 51"/>
                  <a:gd name="T1" fmla="*/ 0 h 78"/>
                  <a:gd name="T2" fmla="*/ 14 w 51"/>
                  <a:gd name="T3" fmla="*/ 16 h 78"/>
                  <a:gd name="T4" fmla="*/ 10 w 51"/>
                  <a:gd name="T5" fmla="*/ 37 h 78"/>
                  <a:gd name="T6" fmla="*/ 0 w 51"/>
                  <a:gd name="T7" fmla="*/ 46 h 78"/>
                  <a:gd name="T8" fmla="*/ 3 w 51"/>
                  <a:gd name="T9" fmla="*/ 66 h 78"/>
                  <a:gd name="T10" fmla="*/ 14 w 51"/>
                  <a:gd name="T11" fmla="*/ 69 h 78"/>
                  <a:gd name="T12" fmla="*/ 20 w 51"/>
                  <a:gd name="T13" fmla="*/ 77 h 78"/>
                  <a:gd name="T14" fmla="*/ 36 w 51"/>
                  <a:gd name="T15" fmla="*/ 76 h 78"/>
                  <a:gd name="T16" fmla="*/ 50 w 51"/>
                  <a:gd name="T17" fmla="*/ 71 h 78"/>
                  <a:gd name="T18" fmla="*/ 45 w 51"/>
                  <a:gd name="T19" fmla="*/ 52 h 78"/>
                  <a:gd name="T20" fmla="*/ 47 w 51"/>
                  <a:gd name="T21" fmla="*/ 37 h 78"/>
                  <a:gd name="T22" fmla="*/ 47 w 51"/>
                  <a:gd name="T23" fmla="*/ 27 h 78"/>
                  <a:gd name="T24" fmla="*/ 42 w 51"/>
                  <a:gd name="T25" fmla="*/ 10 h 78"/>
                  <a:gd name="T26" fmla="*/ 39 w 51"/>
                  <a:gd name="T27" fmla="*/ 1 h 78"/>
                  <a:gd name="T28" fmla="*/ 24 w 51"/>
                  <a:gd name="T2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" h="78">
                    <a:moveTo>
                      <a:pt x="24" y="0"/>
                    </a:moveTo>
                    <a:lnTo>
                      <a:pt x="14" y="16"/>
                    </a:lnTo>
                    <a:lnTo>
                      <a:pt x="10" y="37"/>
                    </a:lnTo>
                    <a:lnTo>
                      <a:pt x="0" y="46"/>
                    </a:lnTo>
                    <a:lnTo>
                      <a:pt x="3" y="66"/>
                    </a:lnTo>
                    <a:lnTo>
                      <a:pt x="14" y="69"/>
                    </a:lnTo>
                    <a:lnTo>
                      <a:pt x="20" y="77"/>
                    </a:lnTo>
                    <a:lnTo>
                      <a:pt x="36" y="76"/>
                    </a:lnTo>
                    <a:lnTo>
                      <a:pt x="50" y="71"/>
                    </a:lnTo>
                    <a:lnTo>
                      <a:pt x="45" y="52"/>
                    </a:lnTo>
                    <a:lnTo>
                      <a:pt x="47" y="37"/>
                    </a:lnTo>
                    <a:lnTo>
                      <a:pt x="47" y="27"/>
                    </a:lnTo>
                    <a:lnTo>
                      <a:pt x="42" y="10"/>
                    </a:lnTo>
                    <a:lnTo>
                      <a:pt x="39" y="1"/>
                    </a:lnTo>
                    <a:lnTo>
                      <a:pt x="24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85" name="Freeform 222">
                <a:extLst>
                  <a:ext uri="{FF2B5EF4-FFF2-40B4-BE49-F238E27FC236}">
                    <a16:creationId xmlns:a16="http://schemas.microsoft.com/office/drawing/2014/main" id="{92779EAA-448E-412D-BA7E-36C0FA9F2E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9" y="2844"/>
                <a:ext cx="54" cy="73"/>
              </a:xfrm>
              <a:custGeom>
                <a:avLst/>
                <a:gdLst>
                  <a:gd name="T0" fmla="*/ 28 w 48"/>
                  <a:gd name="T1" fmla="*/ 0 h 66"/>
                  <a:gd name="T2" fmla="*/ 14 w 48"/>
                  <a:gd name="T3" fmla="*/ 10 h 66"/>
                  <a:gd name="T4" fmla="*/ 0 w 48"/>
                  <a:gd name="T5" fmla="*/ 26 h 66"/>
                  <a:gd name="T6" fmla="*/ 8 w 48"/>
                  <a:gd name="T7" fmla="*/ 38 h 66"/>
                  <a:gd name="T8" fmla="*/ 18 w 48"/>
                  <a:gd name="T9" fmla="*/ 52 h 66"/>
                  <a:gd name="T10" fmla="*/ 29 w 48"/>
                  <a:gd name="T11" fmla="*/ 65 h 66"/>
                  <a:gd name="T12" fmla="*/ 38 w 48"/>
                  <a:gd name="T13" fmla="*/ 52 h 66"/>
                  <a:gd name="T14" fmla="*/ 47 w 48"/>
                  <a:gd name="T15" fmla="*/ 45 h 66"/>
                  <a:gd name="T16" fmla="*/ 47 w 48"/>
                  <a:gd name="T17" fmla="*/ 18 h 66"/>
                  <a:gd name="T18" fmla="*/ 41 w 48"/>
                  <a:gd name="T19" fmla="*/ 7 h 66"/>
                  <a:gd name="T20" fmla="*/ 28 w 48"/>
                  <a:gd name="T2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66">
                    <a:moveTo>
                      <a:pt x="28" y="0"/>
                    </a:moveTo>
                    <a:lnTo>
                      <a:pt x="14" y="10"/>
                    </a:lnTo>
                    <a:lnTo>
                      <a:pt x="0" y="26"/>
                    </a:lnTo>
                    <a:lnTo>
                      <a:pt x="8" y="38"/>
                    </a:lnTo>
                    <a:lnTo>
                      <a:pt x="18" y="52"/>
                    </a:lnTo>
                    <a:lnTo>
                      <a:pt x="29" y="65"/>
                    </a:lnTo>
                    <a:lnTo>
                      <a:pt x="38" y="52"/>
                    </a:lnTo>
                    <a:lnTo>
                      <a:pt x="47" y="45"/>
                    </a:lnTo>
                    <a:lnTo>
                      <a:pt x="47" y="18"/>
                    </a:lnTo>
                    <a:lnTo>
                      <a:pt x="41" y="7"/>
                    </a:lnTo>
                    <a:lnTo>
                      <a:pt x="28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86" name="Freeform 223">
                <a:extLst>
                  <a:ext uri="{FF2B5EF4-FFF2-40B4-BE49-F238E27FC236}">
                    <a16:creationId xmlns:a16="http://schemas.microsoft.com/office/drawing/2014/main" id="{A25DCCE9-769E-4D49-8F6E-5C356A93CC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6" y="2837"/>
                <a:ext cx="106" cy="104"/>
              </a:xfrm>
              <a:custGeom>
                <a:avLst/>
                <a:gdLst>
                  <a:gd name="T0" fmla="*/ 32 w 94"/>
                  <a:gd name="T1" fmla="*/ 92 h 93"/>
                  <a:gd name="T2" fmla="*/ 15 w 94"/>
                  <a:gd name="T3" fmla="*/ 86 h 93"/>
                  <a:gd name="T4" fmla="*/ 14 w 94"/>
                  <a:gd name="T5" fmla="*/ 69 h 93"/>
                  <a:gd name="T6" fmla="*/ 4 w 94"/>
                  <a:gd name="T7" fmla="*/ 68 h 93"/>
                  <a:gd name="T8" fmla="*/ 0 w 94"/>
                  <a:gd name="T9" fmla="*/ 53 h 93"/>
                  <a:gd name="T10" fmla="*/ 4 w 94"/>
                  <a:gd name="T11" fmla="*/ 35 h 93"/>
                  <a:gd name="T12" fmla="*/ 20 w 94"/>
                  <a:gd name="T13" fmla="*/ 24 h 93"/>
                  <a:gd name="T14" fmla="*/ 10 w 94"/>
                  <a:gd name="T15" fmla="*/ 15 h 93"/>
                  <a:gd name="T16" fmla="*/ 15 w 94"/>
                  <a:gd name="T17" fmla="*/ 3 h 93"/>
                  <a:gd name="T18" fmla="*/ 28 w 94"/>
                  <a:gd name="T19" fmla="*/ 3 h 93"/>
                  <a:gd name="T20" fmla="*/ 46 w 94"/>
                  <a:gd name="T21" fmla="*/ 0 h 93"/>
                  <a:gd name="T22" fmla="*/ 54 w 94"/>
                  <a:gd name="T23" fmla="*/ 6 h 93"/>
                  <a:gd name="T24" fmla="*/ 83 w 94"/>
                  <a:gd name="T25" fmla="*/ 8 h 93"/>
                  <a:gd name="T26" fmla="*/ 84 w 94"/>
                  <a:gd name="T27" fmla="*/ 21 h 93"/>
                  <a:gd name="T28" fmla="*/ 93 w 94"/>
                  <a:gd name="T29" fmla="*/ 26 h 93"/>
                  <a:gd name="T30" fmla="*/ 91 w 94"/>
                  <a:gd name="T31" fmla="*/ 37 h 93"/>
                  <a:gd name="T32" fmla="*/ 84 w 94"/>
                  <a:gd name="T33" fmla="*/ 39 h 93"/>
                  <a:gd name="T34" fmla="*/ 81 w 94"/>
                  <a:gd name="T35" fmla="*/ 61 h 93"/>
                  <a:gd name="T36" fmla="*/ 84 w 94"/>
                  <a:gd name="T37" fmla="*/ 84 h 93"/>
                  <a:gd name="T38" fmla="*/ 48 w 94"/>
                  <a:gd name="T39" fmla="*/ 85 h 93"/>
                  <a:gd name="T40" fmla="*/ 32 w 94"/>
                  <a:gd name="T41" fmla="*/ 92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4" h="93">
                    <a:moveTo>
                      <a:pt x="32" y="92"/>
                    </a:moveTo>
                    <a:lnTo>
                      <a:pt x="15" y="86"/>
                    </a:lnTo>
                    <a:lnTo>
                      <a:pt x="14" y="69"/>
                    </a:lnTo>
                    <a:lnTo>
                      <a:pt x="4" y="68"/>
                    </a:lnTo>
                    <a:lnTo>
                      <a:pt x="0" y="53"/>
                    </a:lnTo>
                    <a:lnTo>
                      <a:pt x="4" y="35"/>
                    </a:lnTo>
                    <a:lnTo>
                      <a:pt x="20" y="24"/>
                    </a:lnTo>
                    <a:lnTo>
                      <a:pt x="10" y="15"/>
                    </a:lnTo>
                    <a:lnTo>
                      <a:pt x="15" y="3"/>
                    </a:lnTo>
                    <a:lnTo>
                      <a:pt x="28" y="3"/>
                    </a:lnTo>
                    <a:lnTo>
                      <a:pt x="46" y="0"/>
                    </a:lnTo>
                    <a:lnTo>
                      <a:pt x="54" y="6"/>
                    </a:lnTo>
                    <a:lnTo>
                      <a:pt x="83" y="8"/>
                    </a:lnTo>
                    <a:lnTo>
                      <a:pt x="84" y="21"/>
                    </a:lnTo>
                    <a:lnTo>
                      <a:pt x="93" y="26"/>
                    </a:lnTo>
                    <a:lnTo>
                      <a:pt x="91" y="37"/>
                    </a:lnTo>
                    <a:lnTo>
                      <a:pt x="84" y="39"/>
                    </a:lnTo>
                    <a:lnTo>
                      <a:pt x="81" y="61"/>
                    </a:lnTo>
                    <a:lnTo>
                      <a:pt x="84" y="84"/>
                    </a:lnTo>
                    <a:lnTo>
                      <a:pt x="48" y="85"/>
                    </a:lnTo>
                    <a:lnTo>
                      <a:pt x="32" y="9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87" name="Freeform 224">
                <a:extLst>
                  <a:ext uri="{FF2B5EF4-FFF2-40B4-BE49-F238E27FC236}">
                    <a16:creationId xmlns:a16="http://schemas.microsoft.com/office/drawing/2014/main" id="{BD076BEA-0597-4F9E-96B0-D95A9EC72D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4" y="1987"/>
                <a:ext cx="475" cy="237"/>
              </a:xfrm>
              <a:custGeom>
                <a:avLst/>
                <a:gdLst>
                  <a:gd name="T0" fmla="*/ 0 w 424"/>
                  <a:gd name="T1" fmla="*/ 80 h 212"/>
                  <a:gd name="T2" fmla="*/ 8 w 424"/>
                  <a:gd name="T3" fmla="*/ 73 h 212"/>
                  <a:gd name="T4" fmla="*/ 27 w 424"/>
                  <a:gd name="T5" fmla="*/ 68 h 212"/>
                  <a:gd name="T6" fmla="*/ 70 w 424"/>
                  <a:gd name="T7" fmla="*/ 64 h 212"/>
                  <a:gd name="T8" fmla="*/ 75 w 424"/>
                  <a:gd name="T9" fmla="*/ 70 h 212"/>
                  <a:gd name="T10" fmla="*/ 90 w 424"/>
                  <a:gd name="T11" fmla="*/ 73 h 212"/>
                  <a:gd name="T12" fmla="*/ 96 w 424"/>
                  <a:gd name="T13" fmla="*/ 79 h 212"/>
                  <a:gd name="T14" fmla="*/ 125 w 424"/>
                  <a:gd name="T15" fmla="*/ 76 h 212"/>
                  <a:gd name="T16" fmla="*/ 118 w 424"/>
                  <a:gd name="T17" fmla="*/ 59 h 212"/>
                  <a:gd name="T18" fmla="*/ 114 w 424"/>
                  <a:gd name="T19" fmla="*/ 51 h 212"/>
                  <a:gd name="T20" fmla="*/ 125 w 424"/>
                  <a:gd name="T21" fmla="*/ 51 h 212"/>
                  <a:gd name="T22" fmla="*/ 125 w 424"/>
                  <a:gd name="T23" fmla="*/ 26 h 212"/>
                  <a:gd name="T24" fmla="*/ 125 w 424"/>
                  <a:gd name="T25" fmla="*/ 0 h 212"/>
                  <a:gd name="T26" fmla="*/ 152 w 424"/>
                  <a:gd name="T27" fmla="*/ 11 h 212"/>
                  <a:gd name="T28" fmla="*/ 170 w 424"/>
                  <a:gd name="T29" fmla="*/ 11 h 212"/>
                  <a:gd name="T30" fmla="*/ 182 w 424"/>
                  <a:gd name="T31" fmla="*/ 24 h 212"/>
                  <a:gd name="T32" fmla="*/ 188 w 424"/>
                  <a:gd name="T33" fmla="*/ 37 h 212"/>
                  <a:gd name="T34" fmla="*/ 209 w 424"/>
                  <a:gd name="T35" fmla="*/ 37 h 212"/>
                  <a:gd name="T36" fmla="*/ 241 w 424"/>
                  <a:gd name="T37" fmla="*/ 39 h 212"/>
                  <a:gd name="T38" fmla="*/ 259 w 424"/>
                  <a:gd name="T39" fmla="*/ 49 h 212"/>
                  <a:gd name="T40" fmla="*/ 272 w 424"/>
                  <a:gd name="T41" fmla="*/ 52 h 212"/>
                  <a:gd name="T42" fmla="*/ 276 w 424"/>
                  <a:gd name="T43" fmla="*/ 64 h 212"/>
                  <a:gd name="T44" fmla="*/ 313 w 424"/>
                  <a:gd name="T45" fmla="*/ 58 h 212"/>
                  <a:gd name="T46" fmla="*/ 320 w 424"/>
                  <a:gd name="T47" fmla="*/ 49 h 212"/>
                  <a:gd name="T48" fmla="*/ 332 w 424"/>
                  <a:gd name="T49" fmla="*/ 57 h 212"/>
                  <a:gd name="T50" fmla="*/ 349 w 424"/>
                  <a:gd name="T51" fmla="*/ 41 h 212"/>
                  <a:gd name="T52" fmla="*/ 364 w 424"/>
                  <a:gd name="T53" fmla="*/ 41 h 212"/>
                  <a:gd name="T54" fmla="*/ 376 w 424"/>
                  <a:gd name="T55" fmla="*/ 47 h 212"/>
                  <a:gd name="T56" fmla="*/ 372 w 424"/>
                  <a:gd name="T57" fmla="*/ 59 h 212"/>
                  <a:gd name="T58" fmla="*/ 374 w 424"/>
                  <a:gd name="T59" fmla="*/ 91 h 212"/>
                  <a:gd name="T60" fmla="*/ 377 w 424"/>
                  <a:gd name="T61" fmla="*/ 97 h 212"/>
                  <a:gd name="T62" fmla="*/ 389 w 424"/>
                  <a:gd name="T63" fmla="*/ 94 h 212"/>
                  <a:gd name="T64" fmla="*/ 412 w 424"/>
                  <a:gd name="T65" fmla="*/ 91 h 212"/>
                  <a:gd name="T66" fmla="*/ 423 w 424"/>
                  <a:gd name="T67" fmla="*/ 106 h 212"/>
                  <a:gd name="T68" fmla="*/ 398 w 424"/>
                  <a:gd name="T69" fmla="*/ 117 h 212"/>
                  <a:gd name="T70" fmla="*/ 377 w 424"/>
                  <a:gd name="T71" fmla="*/ 130 h 212"/>
                  <a:gd name="T72" fmla="*/ 365 w 424"/>
                  <a:gd name="T73" fmla="*/ 139 h 212"/>
                  <a:gd name="T74" fmla="*/ 351 w 424"/>
                  <a:gd name="T75" fmla="*/ 154 h 212"/>
                  <a:gd name="T76" fmla="*/ 331 w 424"/>
                  <a:gd name="T77" fmla="*/ 147 h 212"/>
                  <a:gd name="T78" fmla="*/ 332 w 424"/>
                  <a:gd name="T79" fmla="*/ 164 h 212"/>
                  <a:gd name="T80" fmla="*/ 330 w 424"/>
                  <a:gd name="T81" fmla="*/ 181 h 212"/>
                  <a:gd name="T82" fmla="*/ 307 w 424"/>
                  <a:gd name="T83" fmla="*/ 199 h 212"/>
                  <a:gd name="T84" fmla="*/ 279 w 424"/>
                  <a:gd name="T85" fmla="*/ 196 h 212"/>
                  <a:gd name="T86" fmla="*/ 267 w 424"/>
                  <a:gd name="T87" fmla="*/ 204 h 212"/>
                  <a:gd name="T88" fmla="*/ 246 w 424"/>
                  <a:gd name="T89" fmla="*/ 211 h 212"/>
                  <a:gd name="T90" fmla="*/ 225 w 424"/>
                  <a:gd name="T91" fmla="*/ 199 h 212"/>
                  <a:gd name="T92" fmla="*/ 207 w 424"/>
                  <a:gd name="T93" fmla="*/ 194 h 212"/>
                  <a:gd name="T94" fmla="*/ 127 w 424"/>
                  <a:gd name="T95" fmla="*/ 188 h 212"/>
                  <a:gd name="T96" fmla="*/ 117 w 424"/>
                  <a:gd name="T97" fmla="*/ 179 h 212"/>
                  <a:gd name="T98" fmla="*/ 107 w 424"/>
                  <a:gd name="T99" fmla="*/ 160 h 212"/>
                  <a:gd name="T100" fmla="*/ 91 w 424"/>
                  <a:gd name="T101" fmla="*/ 152 h 212"/>
                  <a:gd name="T102" fmla="*/ 76 w 424"/>
                  <a:gd name="T103" fmla="*/ 149 h 212"/>
                  <a:gd name="T104" fmla="*/ 43 w 424"/>
                  <a:gd name="T105" fmla="*/ 143 h 212"/>
                  <a:gd name="T106" fmla="*/ 33 w 424"/>
                  <a:gd name="T107" fmla="*/ 118 h 212"/>
                  <a:gd name="T108" fmla="*/ 29 w 424"/>
                  <a:gd name="T109" fmla="*/ 102 h 212"/>
                  <a:gd name="T110" fmla="*/ 8 w 424"/>
                  <a:gd name="T111" fmla="*/ 91 h 212"/>
                  <a:gd name="T112" fmla="*/ 0 w 424"/>
                  <a:gd name="T113" fmla="*/ 8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24" h="212">
                    <a:moveTo>
                      <a:pt x="0" y="80"/>
                    </a:moveTo>
                    <a:lnTo>
                      <a:pt x="8" y="73"/>
                    </a:lnTo>
                    <a:lnTo>
                      <a:pt x="27" y="68"/>
                    </a:lnTo>
                    <a:lnTo>
                      <a:pt x="70" y="64"/>
                    </a:lnTo>
                    <a:lnTo>
                      <a:pt x="75" y="70"/>
                    </a:lnTo>
                    <a:lnTo>
                      <a:pt x="90" y="73"/>
                    </a:lnTo>
                    <a:lnTo>
                      <a:pt x="96" y="79"/>
                    </a:lnTo>
                    <a:lnTo>
                      <a:pt x="125" y="76"/>
                    </a:lnTo>
                    <a:lnTo>
                      <a:pt x="118" y="59"/>
                    </a:lnTo>
                    <a:lnTo>
                      <a:pt x="114" y="51"/>
                    </a:lnTo>
                    <a:lnTo>
                      <a:pt x="125" y="51"/>
                    </a:lnTo>
                    <a:lnTo>
                      <a:pt x="125" y="26"/>
                    </a:lnTo>
                    <a:lnTo>
                      <a:pt x="125" y="0"/>
                    </a:lnTo>
                    <a:lnTo>
                      <a:pt x="152" y="11"/>
                    </a:lnTo>
                    <a:lnTo>
                      <a:pt x="170" y="11"/>
                    </a:lnTo>
                    <a:lnTo>
                      <a:pt x="182" y="24"/>
                    </a:lnTo>
                    <a:lnTo>
                      <a:pt x="188" y="37"/>
                    </a:lnTo>
                    <a:lnTo>
                      <a:pt x="209" y="37"/>
                    </a:lnTo>
                    <a:lnTo>
                      <a:pt x="241" y="39"/>
                    </a:lnTo>
                    <a:lnTo>
                      <a:pt x="259" y="49"/>
                    </a:lnTo>
                    <a:lnTo>
                      <a:pt x="272" y="52"/>
                    </a:lnTo>
                    <a:lnTo>
                      <a:pt x="276" y="64"/>
                    </a:lnTo>
                    <a:lnTo>
                      <a:pt x="313" y="58"/>
                    </a:lnTo>
                    <a:lnTo>
                      <a:pt x="320" y="49"/>
                    </a:lnTo>
                    <a:lnTo>
                      <a:pt x="332" y="57"/>
                    </a:lnTo>
                    <a:lnTo>
                      <a:pt x="349" y="41"/>
                    </a:lnTo>
                    <a:lnTo>
                      <a:pt x="364" y="41"/>
                    </a:lnTo>
                    <a:lnTo>
                      <a:pt x="376" y="47"/>
                    </a:lnTo>
                    <a:lnTo>
                      <a:pt x="372" y="59"/>
                    </a:lnTo>
                    <a:lnTo>
                      <a:pt x="374" y="91"/>
                    </a:lnTo>
                    <a:lnTo>
                      <a:pt x="377" y="97"/>
                    </a:lnTo>
                    <a:lnTo>
                      <a:pt x="389" y="94"/>
                    </a:lnTo>
                    <a:lnTo>
                      <a:pt x="412" y="91"/>
                    </a:lnTo>
                    <a:lnTo>
                      <a:pt x="423" y="106"/>
                    </a:lnTo>
                    <a:lnTo>
                      <a:pt x="398" y="117"/>
                    </a:lnTo>
                    <a:lnTo>
                      <a:pt x="377" y="130"/>
                    </a:lnTo>
                    <a:lnTo>
                      <a:pt x="365" y="139"/>
                    </a:lnTo>
                    <a:lnTo>
                      <a:pt x="351" y="154"/>
                    </a:lnTo>
                    <a:lnTo>
                      <a:pt x="331" y="147"/>
                    </a:lnTo>
                    <a:lnTo>
                      <a:pt x="332" y="164"/>
                    </a:lnTo>
                    <a:lnTo>
                      <a:pt x="330" y="181"/>
                    </a:lnTo>
                    <a:lnTo>
                      <a:pt x="307" y="199"/>
                    </a:lnTo>
                    <a:lnTo>
                      <a:pt x="279" y="196"/>
                    </a:lnTo>
                    <a:lnTo>
                      <a:pt x="267" y="204"/>
                    </a:lnTo>
                    <a:lnTo>
                      <a:pt x="246" y="211"/>
                    </a:lnTo>
                    <a:lnTo>
                      <a:pt x="225" y="199"/>
                    </a:lnTo>
                    <a:lnTo>
                      <a:pt x="207" y="194"/>
                    </a:lnTo>
                    <a:lnTo>
                      <a:pt x="127" y="188"/>
                    </a:lnTo>
                    <a:lnTo>
                      <a:pt x="117" y="179"/>
                    </a:lnTo>
                    <a:lnTo>
                      <a:pt x="107" y="160"/>
                    </a:lnTo>
                    <a:lnTo>
                      <a:pt x="91" y="152"/>
                    </a:lnTo>
                    <a:lnTo>
                      <a:pt x="76" y="149"/>
                    </a:lnTo>
                    <a:lnTo>
                      <a:pt x="43" y="143"/>
                    </a:lnTo>
                    <a:lnTo>
                      <a:pt x="33" y="118"/>
                    </a:lnTo>
                    <a:lnTo>
                      <a:pt x="29" y="102"/>
                    </a:lnTo>
                    <a:lnTo>
                      <a:pt x="8" y="91"/>
                    </a:lnTo>
                    <a:lnTo>
                      <a:pt x="0" y="8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88" name="Freeform 225">
                <a:extLst>
                  <a:ext uri="{FF2B5EF4-FFF2-40B4-BE49-F238E27FC236}">
                    <a16:creationId xmlns:a16="http://schemas.microsoft.com/office/drawing/2014/main" id="{389645A3-F55F-497A-874E-17BC2EC6E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7" y="2847"/>
                <a:ext cx="33" cy="67"/>
              </a:xfrm>
              <a:custGeom>
                <a:avLst/>
                <a:gdLst>
                  <a:gd name="T0" fmla="*/ 9 w 29"/>
                  <a:gd name="T1" fmla="*/ 0 h 60"/>
                  <a:gd name="T2" fmla="*/ 1 w 29"/>
                  <a:gd name="T3" fmla="*/ 17 h 60"/>
                  <a:gd name="T4" fmla="*/ 0 w 29"/>
                  <a:gd name="T5" fmla="*/ 40 h 60"/>
                  <a:gd name="T6" fmla="*/ 8 w 29"/>
                  <a:gd name="T7" fmla="*/ 59 h 60"/>
                  <a:gd name="T8" fmla="*/ 28 w 29"/>
                  <a:gd name="T9" fmla="*/ 56 h 60"/>
                  <a:gd name="T10" fmla="*/ 28 w 29"/>
                  <a:gd name="T11" fmla="*/ 19 h 60"/>
                  <a:gd name="T12" fmla="*/ 22 w 29"/>
                  <a:gd name="T13" fmla="*/ 11 h 60"/>
                  <a:gd name="T14" fmla="*/ 9 w 29"/>
                  <a:gd name="T15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60">
                    <a:moveTo>
                      <a:pt x="9" y="0"/>
                    </a:moveTo>
                    <a:lnTo>
                      <a:pt x="1" y="17"/>
                    </a:lnTo>
                    <a:lnTo>
                      <a:pt x="0" y="40"/>
                    </a:lnTo>
                    <a:lnTo>
                      <a:pt x="8" y="59"/>
                    </a:lnTo>
                    <a:lnTo>
                      <a:pt x="28" y="56"/>
                    </a:lnTo>
                    <a:lnTo>
                      <a:pt x="28" y="19"/>
                    </a:lnTo>
                    <a:lnTo>
                      <a:pt x="22" y="11"/>
                    </a:lnTo>
                    <a:lnTo>
                      <a:pt x="9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89" name="Freeform 226">
                <a:extLst>
                  <a:ext uri="{FF2B5EF4-FFF2-40B4-BE49-F238E27FC236}">
                    <a16:creationId xmlns:a16="http://schemas.microsoft.com/office/drawing/2014/main" id="{C3E7BB0F-047D-4640-8169-21F84760B9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8" y="2752"/>
                <a:ext cx="128" cy="95"/>
              </a:xfrm>
              <a:custGeom>
                <a:avLst/>
                <a:gdLst>
                  <a:gd name="T0" fmla="*/ 113 w 114"/>
                  <a:gd name="T1" fmla="*/ 42 h 84"/>
                  <a:gd name="T2" fmla="*/ 109 w 114"/>
                  <a:gd name="T3" fmla="*/ 57 h 84"/>
                  <a:gd name="T4" fmla="*/ 93 w 114"/>
                  <a:gd name="T5" fmla="*/ 62 h 84"/>
                  <a:gd name="T6" fmla="*/ 82 w 114"/>
                  <a:gd name="T7" fmla="*/ 77 h 84"/>
                  <a:gd name="T8" fmla="*/ 75 w 114"/>
                  <a:gd name="T9" fmla="*/ 78 h 84"/>
                  <a:gd name="T10" fmla="*/ 63 w 114"/>
                  <a:gd name="T11" fmla="*/ 75 h 84"/>
                  <a:gd name="T12" fmla="*/ 52 w 114"/>
                  <a:gd name="T13" fmla="*/ 69 h 84"/>
                  <a:gd name="T14" fmla="*/ 45 w 114"/>
                  <a:gd name="T15" fmla="*/ 69 h 84"/>
                  <a:gd name="T16" fmla="*/ 37 w 114"/>
                  <a:gd name="T17" fmla="*/ 83 h 84"/>
                  <a:gd name="T18" fmla="*/ 8 w 114"/>
                  <a:gd name="T19" fmla="*/ 81 h 84"/>
                  <a:gd name="T20" fmla="*/ 0 w 114"/>
                  <a:gd name="T21" fmla="*/ 75 h 84"/>
                  <a:gd name="T22" fmla="*/ 4 w 114"/>
                  <a:gd name="T23" fmla="*/ 56 h 84"/>
                  <a:gd name="T24" fmla="*/ 14 w 114"/>
                  <a:gd name="T25" fmla="*/ 42 h 84"/>
                  <a:gd name="T26" fmla="*/ 19 w 114"/>
                  <a:gd name="T27" fmla="*/ 30 h 84"/>
                  <a:gd name="T28" fmla="*/ 23 w 114"/>
                  <a:gd name="T29" fmla="*/ 23 h 84"/>
                  <a:gd name="T30" fmla="*/ 41 w 114"/>
                  <a:gd name="T31" fmla="*/ 17 h 84"/>
                  <a:gd name="T32" fmla="*/ 49 w 114"/>
                  <a:gd name="T33" fmla="*/ 9 h 84"/>
                  <a:gd name="T34" fmla="*/ 57 w 114"/>
                  <a:gd name="T35" fmla="*/ 0 h 84"/>
                  <a:gd name="T36" fmla="*/ 81 w 114"/>
                  <a:gd name="T37" fmla="*/ 1 h 84"/>
                  <a:gd name="T38" fmla="*/ 85 w 114"/>
                  <a:gd name="T39" fmla="*/ 9 h 84"/>
                  <a:gd name="T40" fmla="*/ 94 w 114"/>
                  <a:gd name="T41" fmla="*/ 14 h 84"/>
                  <a:gd name="T42" fmla="*/ 95 w 114"/>
                  <a:gd name="T43" fmla="*/ 30 h 84"/>
                  <a:gd name="T44" fmla="*/ 105 w 114"/>
                  <a:gd name="T45" fmla="*/ 30 h 84"/>
                  <a:gd name="T46" fmla="*/ 113 w 114"/>
                  <a:gd name="T47" fmla="*/ 4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14" h="84">
                    <a:moveTo>
                      <a:pt x="113" y="42"/>
                    </a:moveTo>
                    <a:lnTo>
                      <a:pt x="109" y="57"/>
                    </a:lnTo>
                    <a:lnTo>
                      <a:pt x="93" y="62"/>
                    </a:lnTo>
                    <a:lnTo>
                      <a:pt x="82" y="77"/>
                    </a:lnTo>
                    <a:lnTo>
                      <a:pt x="75" y="78"/>
                    </a:lnTo>
                    <a:lnTo>
                      <a:pt x="63" y="75"/>
                    </a:lnTo>
                    <a:lnTo>
                      <a:pt x="52" y="69"/>
                    </a:lnTo>
                    <a:lnTo>
                      <a:pt x="45" y="69"/>
                    </a:lnTo>
                    <a:lnTo>
                      <a:pt x="37" y="83"/>
                    </a:lnTo>
                    <a:lnTo>
                      <a:pt x="8" y="81"/>
                    </a:lnTo>
                    <a:lnTo>
                      <a:pt x="0" y="75"/>
                    </a:lnTo>
                    <a:lnTo>
                      <a:pt x="4" y="56"/>
                    </a:lnTo>
                    <a:lnTo>
                      <a:pt x="14" y="42"/>
                    </a:lnTo>
                    <a:lnTo>
                      <a:pt x="19" y="30"/>
                    </a:lnTo>
                    <a:lnTo>
                      <a:pt x="23" y="23"/>
                    </a:lnTo>
                    <a:lnTo>
                      <a:pt x="41" y="17"/>
                    </a:lnTo>
                    <a:lnTo>
                      <a:pt x="49" y="9"/>
                    </a:lnTo>
                    <a:lnTo>
                      <a:pt x="57" y="0"/>
                    </a:lnTo>
                    <a:lnTo>
                      <a:pt x="81" y="1"/>
                    </a:lnTo>
                    <a:lnTo>
                      <a:pt x="85" y="9"/>
                    </a:lnTo>
                    <a:lnTo>
                      <a:pt x="94" y="14"/>
                    </a:lnTo>
                    <a:lnTo>
                      <a:pt x="95" y="30"/>
                    </a:lnTo>
                    <a:lnTo>
                      <a:pt x="105" y="30"/>
                    </a:lnTo>
                    <a:lnTo>
                      <a:pt x="113" y="4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90" name="Freeform 227">
                <a:extLst>
                  <a:ext uri="{FF2B5EF4-FFF2-40B4-BE49-F238E27FC236}">
                    <a16:creationId xmlns:a16="http://schemas.microsoft.com/office/drawing/2014/main" id="{73E4E36D-0B9A-4346-8A96-E90D2204C2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3" y="2793"/>
                <a:ext cx="126" cy="104"/>
              </a:xfrm>
              <a:custGeom>
                <a:avLst/>
                <a:gdLst>
                  <a:gd name="T0" fmla="*/ 0 w 113"/>
                  <a:gd name="T1" fmla="*/ 15 h 93"/>
                  <a:gd name="T2" fmla="*/ 8 w 113"/>
                  <a:gd name="T3" fmla="*/ 6 h 93"/>
                  <a:gd name="T4" fmla="*/ 25 w 113"/>
                  <a:gd name="T5" fmla="*/ 0 h 93"/>
                  <a:gd name="T6" fmla="*/ 45 w 113"/>
                  <a:gd name="T7" fmla="*/ 3 h 93"/>
                  <a:gd name="T8" fmla="*/ 61 w 113"/>
                  <a:gd name="T9" fmla="*/ 3 h 93"/>
                  <a:gd name="T10" fmla="*/ 76 w 113"/>
                  <a:gd name="T11" fmla="*/ 8 h 93"/>
                  <a:gd name="T12" fmla="*/ 92 w 113"/>
                  <a:gd name="T13" fmla="*/ 11 h 93"/>
                  <a:gd name="T14" fmla="*/ 103 w 113"/>
                  <a:gd name="T15" fmla="*/ 23 h 93"/>
                  <a:gd name="T16" fmla="*/ 107 w 113"/>
                  <a:gd name="T17" fmla="*/ 42 h 93"/>
                  <a:gd name="T18" fmla="*/ 102 w 113"/>
                  <a:gd name="T19" fmla="*/ 54 h 93"/>
                  <a:gd name="T20" fmla="*/ 112 w 113"/>
                  <a:gd name="T21" fmla="*/ 62 h 93"/>
                  <a:gd name="T22" fmla="*/ 96 w 113"/>
                  <a:gd name="T23" fmla="*/ 74 h 93"/>
                  <a:gd name="T24" fmla="*/ 92 w 113"/>
                  <a:gd name="T25" fmla="*/ 92 h 93"/>
                  <a:gd name="T26" fmla="*/ 81 w 113"/>
                  <a:gd name="T27" fmla="*/ 89 h 93"/>
                  <a:gd name="T28" fmla="*/ 72 w 113"/>
                  <a:gd name="T29" fmla="*/ 72 h 93"/>
                  <a:gd name="T30" fmla="*/ 68 w 113"/>
                  <a:gd name="T31" fmla="*/ 55 h 93"/>
                  <a:gd name="T32" fmla="*/ 52 w 113"/>
                  <a:gd name="T33" fmla="*/ 46 h 93"/>
                  <a:gd name="T34" fmla="*/ 40 w 113"/>
                  <a:gd name="T35" fmla="*/ 52 h 93"/>
                  <a:gd name="T36" fmla="*/ 25 w 113"/>
                  <a:gd name="T37" fmla="*/ 56 h 93"/>
                  <a:gd name="T38" fmla="*/ 7 w 113"/>
                  <a:gd name="T39" fmla="*/ 37 h 93"/>
                  <a:gd name="T40" fmla="*/ 0 w 113"/>
                  <a:gd name="T41" fmla="*/ 15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3" h="93">
                    <a:moveTo>
                      <a:pt x="0" y="15"/>
                    </a:moveTo>
                    <a:lnTo>
                      <a:pt x="8" y="6"/>
                    </a:lnTo>
                    <a:lnTo>
                      <a:pt x="25" y="0"/>
                    </a:lnTo>
                    <a:lnTo>
                      <a:pt x="45" y="3"/>
                    </a:lnTo>
                    <a:lnTo>
                      <a:pt x="61" y="3"/>
                    </a:lnTo>
                    <a:lnTo>
                      <a:pt x="76" y="8"/>
                    </a:lnTo>
                    <a:lnTo>
                      <a:pt x="92" y="11"/>
                    </a:lnTo>
                    <a:lnTo>
                      <a:pt x="103" y="23"/>
                    </a:lnTo>
                    <a:lnTo>
                      <a:pt x="107" y="42"/>
                    </a:lnTo>
                    <a:lnTo>
                      <a:pt x="102" y="54"/>
                    </a:lnTo>
                    <a:lnTo>
                      <a:pt x="112" y="62"/>
                    </a:lnTo>
                    <a:lnTo>
                      <a:pt x="96" y="74"/>
                    </a:lnTo>
                    <a:lnTo>
                      <a:pt x="92" y="92"/>
                    </a:lnTo>
                    <a:lnTo>
                      <a:pt x="81" y="89"/>
                    </a:lnTo>
                    <a:lnTo>
                      <a:pt x="72" y="72"/>
                    </a:lnTo>
                    <a:lnTo>
                      <a:pt x="68" y="55"/>
                    </a:lnTo>
                    <a:lnTo>
                      <a:pt x="52" y="46"/>
                    </a:lnTo>
                    <a:lnTo>
                      <a:pt x="40" y="52"/>
                    </a:lnTo>
                    <a:lnTo>
                      <a:pt x="25" y="56"/>
                    </a:lnTo>
                    <a:lnTo>
                      <a:pt x="7" y="37"/>
                    </a:lnTo>
                    <a:lnTo>
                      <a:pt x="0" y="1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91" name="Freeform 228">
                <a:extLst>
                  <a:ext uri="{FF2B5EF4-FFF2-40B4-BE49-F238E27FC236}">
                    <a16:creationId xmlns:a16="http://schemas.microsoft.com/office/drawing/2014/main" id="{3E06A350-CFDB-44AF-9CF3-6C64576197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8" y="2829"/>
                <a:ext cx="59" cy="107"/>
              </a:xfrm>
              <a:custGeom>
                <a:avLst/>
                <a:gdLst>
                  <a:gd name="T0" fmla="*/ 2 w 53"/>
                  <a:gd name="T1" fmla="*/ 91 h 95"/>
                  <a:gd name="T2" fmla="*/ 0 w 53"/>
                  <a:gd name="T3" fmla="*/ 68 h 95"/>
                  <a:gd name="T4" fmla="*/ 2 w 53"/>
                  <a:gd name="T5" fmla="*/ 45 h 95"/>
                  <a:gd name="T6" fmla="*/ 10 w 53"/>
                  <a:gd name="T7" fmla="*/ 44 h 95"/>
                  <a:gd name="T8" fmla="*/ 12 w 53"/>
                  <a:gd name="T9" fmla="*/ 32 h 95"/>
                  <a:gd name="T10" fmla="*/ 2 w 53"/>
                  <a:gd name="T11" fmla="*/ 27 h 95"/>
                  <a:gd name="T12" fmla="*/ 2 w 53"/>
                  <a:gd name="T13" fmla="*/ 14 h 95"/>
                  <a:gd name="T14" fmla="*/ 9 w 53"/>
                  <a:gd name="T15" fmla="*/ 0 h 95"/>
                  <a:gd name="T16" fmla="*/ 17 w 53"/>
                  <a:gd name="T17" fmla="*/ 0 h 95"/>
                  <a:gd name="T18" fmla="*/ 27 w 53"/>
                  <a:gd name="T19" fmla="*/ 6 h 95"/>
                  <a:gd name="T20" fmla="*/ 39 w 53"/>
                  <a:gd name="T21" fmla="*/ 9 h 95"/>
                  <a:gd name="T22" fmla="*/ 40 w 53"/>
                  <a:gd name="T23" fmla="*/ 23 h 95"/>
                  <a:gd name="T24" fmla="*/ 46 w 53"/>
                  <a:gd name="T25" fmla="*/ 26 h 95"/>
                  <a:gd name="T26" fmla="*/ 45 w 53"/>
                  <a:gd name="T27" fmla="*/ 39 h 95"/>
                  <a:gd name="T28" fmla="*/ 48 w 53"/>
                  <a:gd name="T29" fmla="*/ 60 h 95"/>
                  <a:gd name="T30" fmla="*/ 52 w 53"/>
                  <a:gd name="T31" fmla="*/ 79 h 95"/>
                  <a:gd name="T32" fmla="*/ 46 w 53"/>
                  <a:gd name="T33" fmla="*/ 86 h 95"/>
                  <a:gd name="T34" fmla="*/ 35 w 53"/>
                  <a:gd name="T35" fmla="*/ 86 h 95"/>
                  <a:gd name="T36" fmla="*/ 29 w 53"/>
                  <a:gd name="T37" fmla="*/ 93 h 95"/>
                  <a:gd name="T38" fmla="*/ 18 w 53"/>
                  <a:gd name="T39" fmla="*/ 94 h 95"/>
                  <a:gd name="T40" fmla="*/ 2 w 53"/>
                  <a:gd name="T41" fmla="*/ 91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3" h="95">
                    <a:moveTo>
                      <a:pt x="2" y="91"/>
                    </a:moveTo>
                    <a:lnTo>
                      <a:pt x="0" y="68"/>
                    </a:lnTo>
                    <a:lnTo>
                      <a:pt x="2" y="45"/>
                    </a:lnTo>
                    <a:lnTo>
                      <a:pt x="10" y="44"/>
                    </a:lnTo>
                    <a:lnTo>
                      <a:pt x="12" y="32"/>
                    </a:lnTo>
                    <a:lnTo>
                      <a:pt x="2" y="27"/>
                    </a:lnTo>
                    <a:lnTo>
                      <a:pt x="2" y="14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27" y="6"/>
                    </a:lnTo>
                    <a:lnTo>
                      <a:pt x="39" y="9"/>
                    </a:lnTo>
                    <a:lnTo>
                      <a:pt x="40" y="23"/>
                    </a:lnTo>
                    <a:lnTo>
                      <a:pt x="46" y="26"/>
                    </a:lnTo>
                    <a:lnTo>
                      <a:pt x="45" y="39"/>
                    </a:lnTo>
                    <a:lnTo>
                      <a:pt x="48" y="60"/>
                    </a:lnTo>
                    <a:lnTo>
                      <a:pt x="52" y="79"/>
                    </a:lnTo>
                    <a:lnTo>
                      <a:pt x="46" y="86"/>
                    </a:lnTo>
                    <a:lnTo>
                      <a:pt x="35" y="86"/>
                    </a:lnTo>
                    <a:lnTo>
                      <a:pt x="29" y="93"/>
                    </a:lnTo>
                    <a:lnTo>
                      <a:pt x="18" y="94"/>
                    </a:lnTo>
                    <a:lnTo>
                      <a:pt x="2" y="91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92" name="Freeform 229">
                <a:extLst>
                  <a:ext uri="{FF2B5EF4-FFF2-40B4-BE49-F238E27FC236}">
                    <a16:creationId xmlns:a16="http://schemas.microsoft.com/office/drawing/2014/main" id="{29A0D02E-C9CE-4CBD-9127-C34C4E9E7A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2" y="3048"/>
                <a:ext cx="177" cy="196"/>
              </a:xfrm>
              <a:custGeom>
                <a:avLst/>
                <a:gdLst>
                  <a:gd name="T0" fmla="*/ 156 w 157"/>
                  <a:gd name="T1" fmla="*/ 154 h 175"/>
                  <a:gd name="T2" fmla="*/ 139 w 157"/>
                  <a:gd name="T3" fmla="*/ 158 h 175"/>
                  <a:gd name="T4" fmla="*/ 136 w 157"/>
                  <a:gd name="T5" fmla="*/ 165 h 175"/>
                  <a:gd name="T6" fmla="*/ 119 w 157"/>
                  <a:gd name="T7" fmla="*/ 165 h 175"/>
                  <a:gd name="T8" fmla="*/ 116 w 157"/>
                  <a:gd name="T9" fmla="*/ 174 h 175"/>
                  <a:gd name="T10" fmla="*/ 86 w 157"/>
                  <a:gd name="T11" fmla="*/ 171 h 175"/>
                  <a:gd name="T12" fmla="*/ 84 w 157"/>
                  <a:gd name="T13" fmla="*/ 163 h 175"/>
                  <a:gd name="T14" fmla="*/ 71 w 157"/>
                  <a:gd name="T15" fmla="*/ 154 h 175"/>
                  <a:gd name="T16" fmla="*/ 60 w 157"/>
                  <a:gd name="T17" fmla="*/ 146 h 175"/>
                  <a:gd name="T18" fmla="*/ 53 w 157"/>
                  <a:gd name="T19" fmla="*/ 143 h 175"/>
                  <a:gd name="T20" fmla="*/ 44 w 157"/>
                  <a:gd name="T21" fmla="*/ 129 h 175"/>
                  <a:gd name="T22" fmla="*/ 31 w 157"/>
                  <a:gd name="T23" fmla="*/ 122 h 175"/>
                  <a:gd name="T24" fmla="*/ 21 w 157"/>
                  <a:gd name="T25" fmla="*/ 112 h 175"/>
                  <a:gd name="T26" fmla="*/ 19 w 157"/>
                  <a:gd name="T27" fmla="*/ 104 h 175"/>
                  <a:gd name="T28" fmla="*/ 8 w 157"/>
                  <a:gd name="T29" fmla="*/ 105 h 175"/>
                  <a:gd name="T30" fmla="*/ 9 w 157"/>
                  <a:gd name="T31" fmla="*/ 97 h 175"/>
                  <a:gd name="T32" fmla="*/ 8 w 157"/>
                  <a:gd name="T33" fmla="*/ 87 h 175"/>
                  <a:gd name="T34" fmla="*/ 4 w 157"/>
                  <a:gd name="T35" fmla="*/ 78 h 175"/>
                  <a:gd name="T36" fmla="*/ 3 w 157"/>
                  <a:gd name="T37" fmla="*/ 70 h 175"/>
                  <a:gd name="T38" fmla="*/ 4 w 157"/>
                  <a:gd name="T39" fmla="*/ 57 h 175"/>
                  <a:gd name="T40" fmla="*/ 0 w 157"/>
                  <a:gd name="T41" fmla="*/ 46 h 175"/>
                  <a:gd name="T42" fmla="*/ 8 w 157"/>
                  <a:gd name="T43" fmla="*/ 45 h 175"/>
                  <a:gd name="T44" fmla="*/ 19 w 157"/>
                  <a:gd name="T45" fmla="*/ 43 h 175"/>
                  <a:gd name="T46" fmla="*/ 18 w 157"/>
                  <a:gd name="T47" fmla="*/ 26 h 175"/>
                  <a:gd name="T48" fmla="*/ 14 w 157"/>
                  <a:gd name="T49" fmla="*/ 19 h 175"/>
                  <a:gd name="T50" fmla="*/ 11 w 157"/>
                  <a:gd name="T51" fmla="*/ 4 h 175"/>
                  <a:gd name="T52" fmla="*/ 18 w 157"/>
                  <a:gd name="T53" fmla="*/ 0 h 175"/>
                  <a:gd name="T54" fmla="*/ 33 w 157"/>
                  <a:gd name="T55" fmla="*/ 1 h 175"/>
                  <a:gd name="T56" fmla="*/ 63 w 157"/>
                  <a:gd name="T57" fmla="*/ 0 h 175"/>
                  <a:gd name="T58" fmla="*/ 74 w 157"/>
                  <a:gd name="T59" fmla="*/ 0 h 175"/>
                  <a:gd name="T60" fmla="*/ 103 w 157"/>
                  <a:gd name="T61" fmla="*/ 24 h 175"/>
                  <a:gd name="T62" fmla="*/ 118 w 157"/>
                  <a:gd name="T63" fmla="*/ 28 h 175"/>
                  <a:gd name="T64" fmla="*/ 119 w 157"/>
                  <a:gd name="T65" fmla="*/ 41 h 175"/>
                  <a:gd name="T66" fmla="*/ 141 w 157"/>
                  <a:gd name="T67" fmla="*/ 52 h 175"/>
                  <a:gd name="T68" fmla="*/ 142 w 157"/>
                  <a:gd name="T69" fmla="*/ 60 h 175"/>
                  <a:gd name="T70" fmla="*/ 142 w 157"/>
                  <a:gd name="T71" fmla="*/ 71 h 175"/>
                  <a:gd name="T72" fmla="*/ 137 w 157"/>
                  <a:gd name="T73" fmla="*/ 77 h 175"/>
                  <a:gd name="T74" fmla="*/ 135 w 157"/>
                  <a:gd name="T75" fmla="*/ 88 h 175"/>
                  <a:gd name="T76" fmla="*/ 143 w 157"/>
                  <a:gd name="T77" fmla="*/ 90 h 175"/>
                  <a:gd name="T78" fmla="*/ 142 w 157"/>
                  <a:gd name="T79" fmla="*/ 106 h 175"/>
                  <a:gd name="T80" fmla="*/ 145 w 157"/>
                  <a:gd name="T81" fmla="*/ 122 h 175"/>
                  <a:gd name="T82" fmla="*/ 146 w 157"/>
                  <a:gd name="T83" fmla="*/ 140 h 175"/>
                  <a:gd name="T84" fmla="*/ 152 w 157"/>
                  <a:gd name="T85" fmla="*/ 146 h 175"/>
                  <a:gd name="T86" fmla="*/ 156 w 157"/>
                  <a:gd name="T87" fmla="*/ 154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7" h="175">
                    <a:moveTo>
                      <a:pt x="156" y="154"/>
                    </a:moveTo>
                    <a:lnTo>
                      <a:pt x="139" y="158"/>
                    </a:lnTo>
                    <a:lnTo>
                      <a:pt x="136" y="165"/>
                    </a:lnTo>
                    <a:lnTo>
                      <a:pt x="119" y="165"/>
                    </a:lnTo>
                    <a:lnTo>
                      <a:pt x="116" y="174"/>
                    </a:lnTo>
                    <a:lnTo>
                      <a:pt x="86" y="171"/>
                    </a:lnTo>
                    <a:lnTo>
                      <a:pt x="84" y="163"/>
                    </a:lnTo>
                    <a:lnTo>
                      <a:pt x="71" y="154"/>
                    </a:lnTo>
                    <a:lnTo>
                      <a:pt x="60" y="146"/>
                    </a:lnTo>
                    <a:lnTo>
                      <a:pt x="53" y="143"/>
                    </a:lnTo>
                    <a:lnTo>
                      <a:pt x="44" y="129"/>
                    </a:lnTo>
                    <a:lnTo>
                      <a:pt x="31" y="122"/>
                    </a:lnTo>
                    <a:lnTo>
                      <a:pt x="21" y="112"/>
                    </a:lnTo>
                    <a:lnTo>
                      <a:pt x="19" y="104"/>
                    </a:lnTo>
                    <a:lnTo>
                      <a:pt x="8" y="105"/>
                    </a:lnTo>
                    <a:lnTo>
                      <a:pt x="9" y="97"/>
                    </a:lnTo>
                    <a:lnTo>
                      <a:pt x="8" y="87"/>
                    </a:lnTo>
                    <a:lnTo>
                      <a:pt x="4" y="78"/>
                    </a:lnTo>
                    <a:lnTo>
                      <a:pt x="3" y="70"/>
                    </a:lnTo>
                    <a:lnTo>
                      <a:pt x="4" y="57"/>
                    </a:lnTo>
                    <a:lnTo>
                      <a:pt x="0" y="46"/>
                    </a:lnTo>
                    <a:lnTo>
                      <a:pt x="8" y="45"/>
                    </a:lnTo>
                    <a:lnTo>
                      <a:pt x="19" y="43"/>
                    </a:lnTo>
                    <a:lnTo>
                      <a:pt x="18" y="26"/>
                    </a:lnTo>
                    <a:lnTo>
                      <a:pt x="14" y="19"/>
                    </a:lnTo>
                    <a:lnTo>
                      <a:pt x="11" y="4"/>
                    </a:lnTo>
                    <a:lnTo>
                      <a:pt x="18" y="0"/>
                    </a:lnTo>
                    <a:lnTo>
                      <a:pt x="33" y="1"/>
                    </a:lnTo>
                    <a:lnTo>
                      <a:pt x="63" y="0"/>
                    </a:lnTo>
                    <a:lnTo>
                      <a:pt x="74" y="0"/>
                    </a:lnTo>
                    <a:lnTo>
                      <a:pt x="103" y="24"/>
                    </a:lnTo>
                    <a:lnTo>
                      <a:pt x="118" y="28"/>
                    </a:lnTo>
                    <a:lnTo>
                      <a:pt x="119" y="41"/>
                    </a:lnTo>
                    <a:lnTo>
                      <a:pt x="141" y="52"/>
                    </a:lnTo>
                    <a:lnTo>
                      <a:pt x="142" y="60"/>
                    </a:lnTo>
                    <a:lnTo>
                      <a:pt x="142" y="71"/>
                    </a:lnTo>
                    <a:lnTo>
                      <a:pt x="137" y="77"/>
                    </a:lnTo>
                    <a:lnTo>
                      <a:pt x="135" y="88"/>
                    </a:lnTo>
                    <a:lnTo>
                      <a:pt x="143" y="90"/>
                    </a:lnTo>
                    <a:lnTo>
                      <a:pt x="142" y="106"/>
                    </a:lnTo>
                    <a:lnTo>
                      <a:pt x="145" y="122"/>
                    </a:lnTo>
                    <a:lnTo>
                      <a:pt x="146" y="140"/>
                    </a:lnTo>
                    <a:lnTo>
                      <a:pt x="152" y="146"/>
                    </a:lnTo>
                    <a:lnTo>
                      <a:pt x="156" y="15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93" name="Freeform 230">
                <a:extLst>
                  <a:ext uri="{FF2B5EF4-FFF2-40B4-BE49-F238E27FC236}">
                    <a16:creationId xmlns:a16="http://schemas.microsoft.com/office/drawing/2014/main" id="{65871090-C8DD-43F9-81EC-13604364D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2" y="2954"/>
                <a:ext cx="80" cy="100"/>
              </a:xfrm>
              <a:custGeom>
                <a:avLst/>
                <a:gdLst>
                  <a:gd name="T0" fmla="*/ 61 w 71"/>
                  <a:gd name="T1" fmla="*/ 0 h 89"/>
                  <a:gd name="T2" fmla="*/ 70 w 71"/>
                  <a:gd name="T3" fmla="*/ 14 h 89"/>
                  <a:gd name="T4" fmla="*/ 70 w 71"/>
                  <a:gd name="T5" fmla="*/ 41 h 89"/>
                  <a:gd name="T6" fmla="*/ 61 w 71"/>
                  <a:gd name="T7" fmla="*/ 58 h 89"/>
                  <a:gd name="T8" fmla="*/ 59 w 71"/>
                  <a:gd name="T9" fmla="*/ 74 h 89"/>
                  <a:gd name="T10" fmla="*/ 63 w 71"/>
                  <a:gd name="T11" fmla="*/ 84 h 89"/>
                  <a:gd name="T12" fmla="*/ 33 w 71"/>
                  <a:gd name="T13" fmla="*/ 85 h 89"/>
                  <a:gd name="T14" fmla="*/ 18 w 71"/>
                  <a:gd name="T15" fmla="*/ 84 h 89"/>
                  <a:gd name="T16" fmla="*/ 11 w 71"/>
                  <a:gd name="T17" fmla="*/ 88 h 89"/>
                  <a:gd name="T18" fmla="*/ 0 w 71"/>
                  <a:gd name="T19" fmla="*/ 84 h 89"/>
                  <a:gd name="T20" fmla="*/ 4 w 71"/>
                  <a:gd name="T21" fmla="*/ 49 h 89"/>
                  <a:gd name="T22" fmla="*/ 19 w 71"/>
                  <a:gd name="T23" fmla="*/ 43 h 89"/>
                  <a:gd name="T24" fmla="*/ 27 w 71"/>
                  <a:gd name="T25" fmla="*/ 39 h 89"/>
                  <a:gd name="T26" fmla="*/ 28 w 71"/>
                  <a:gd name="T27" fmla="*/ 30 h 89"/>
                  <a:gd name="T28" fmla="*/ 19 w 71"/>
                  <a:gd name="T29" fmla="*/ 30 h 89"/>
                  <a:gd name="T30" fmla="*/ 19 w 71"/>
                  <a:gd name="T31" fmla="*/ 23 h 89"/>
                  <a:gd name="T32" fmla="*/ 15 w 71"/>
                  <a:gd name="T33" fmla="*/ 4 h 89"/>
                  <a:gd name="T34" fmla="*/ 31 w 71"/>
                  <a:gd name="T35" fmla="*/ 4 h 89"/>
                  <a:gd name="T36" fmla="*/ 44 w 71"/>
                  <a:gd name="T37" fmla="*/ 5 h 89"/>
                  <a:gd name="T38" fmla="*/ 61 w 71"/>
                  <a:gd name="T39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89">
                    <a:moveTo>
                      <a:pt x="61" y="0"/>
                    </a:moveTo>
                    <a:lnTo>
                      <a:pt x="70" y="14"/>
                    </a:lnTo>
                    <a:lnTo>
                      <a:pt x="70" y="41"/>
                    </a:lnTo>
                    <a:lnTo>
                      <a:pt x="61" y="58"/>
                    </a:lnTo>
                    <a:lnTo>
                      <a:pt x="59" y="74"/>
                    </a:lnTo>
                    <a:lnTo>
                      <a:pt x="63" y="84"/>
                    </a:lnTo>
                    <a:lnTo>
                      <a:pt x="33" y="85"/>
                    </a:lnTo>
                    <a:lnTo>
                      <a:pt x="18" y="84"/>
                    </a:lnTo>
                    <a:lnTo>
                      <a:pt x="11" y="88"/>
                    </a:lnTo>
                    <a:lnTo>
                      <a:pt x="0" y="84"/>
                    </a:lnTo>
                    <a:lnTo>
                      <a:pt x="4" y="49"/>
                    </a:lnTo>
                    <a:lnTo>
                      <a:pt x="19" y="43"/>
                    </a:lnTo>
                    <a:lnTo>
                      <a:pt x="27" y="39"/>
                    </a:lnTo>
                    <a:lnTo>
                      <a:pt x="28" y="30"/>
                    </a:lnTo>
                    <a:lnTo>
                      <a:pt x="19" y="30"/>
                    </a:lnTo>
                    <a:lnTo>
                      <a:pt x="19" y="23"/>
                    </a:lnTo>
                    <a:lnTo>
                      <a:pt x="15" y="4"/>
                    </a:lnTo>
                    <a:lnTo>
                      <a:pt x="31" y="4"/>
                    </a:lnTo>
                    <a:lnTo>
                      <a:pt x="44" y="5"/>
                    </a:lnTo>
                    <a:lnTo>
                      <a:pt x="61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94" name="Freeform 231">
                <a:extLst>
                  <a:ext uri="{FF2B5EF4-FFF2-40B4-BE49-F238E27FC236}">
                    <a16:creationId xmlns:a16="http://schemas.microsoft.com/office/drawing/2014/main" id="{4E1A022A-6528-484C-81D8-D12047661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7" y="2671"/>
                <a:ext cx="165" cy="124"/>
              </a:xfrm>
              <a:custGeom>
                <a:avLst/>
                <a:gdLst>
                  <a:gd name="T0" fmla="*/ 51 w 147"/>
                  <a:gd name="T1" fmla="*/ 59 h 110"/>
                  <a:gd name="T2" fmla="*/ 51 w 147"/>
                  <a:gd name="T3" fmla="*/ 46 h 110"/>
                  <a:gd name="T4" fmla="*/ 51 w 147"/>
                  <a:gd name="T5" fmla="*/ 36 h 110"/>
                  <a:gd name="T6" fmla="*/ 45 w 147"/>
                  <a:gd name="T7" fmla="*/ 34 h 110"/>
                  <a:gd name="T8" fmla="*/ 28 w 147"/>
                  <a:gd name="T9" fmla="*/ 33 h 110"/>
                  <a:gd name="T10" fmla="*/ 11 w 147"/>
                  <a:gd name="T11" fmla="*/ 34 h 110"/>
                  <a:gd name="T12" fmla="*/ 0 w 147"/>
                  <a:gd name="T13" fmla="*/ 41 h 110"/>
                  <a:gd name="T14" fmla="*/ 2 w 147"/>
                  <a:gd name="T15" fmla="*/ 74 h 110"/>
                  <a:gd name="T16" fmla="*/ 2 w 147"/>
                  <a:gd name="T17" fmla="*/ 91 h 110"/>
                  <a:gd name="T18" fmla="*/ 8 w 147"/>
                  <a:gd name="T19" fmla="*/ 101 h 110"/>
                  <a:gd name="T20" fmla="*/ 23 w 147"/>
                  <a:gd name="T21" fmla="*/ 109 h 110"/>
                  <a:gd name="T22" fmla="*/ 34 w 147"/>
                  <a:gd name="T23" fmla="*/ 98 h 110"/>
                  <a:gd name="T24" fmla="*/ 48 w 147"/>
                  <a:gd name="T25" fmla="*/ 84 h 110"/>
                  <a:gd name="T26" fmla="*/ 53 w 147"/>
                  <a:gd name="T27" fmla="*/ 79 h 110"/>
                  <a:gd name="T28" fmla="*/ 91 w 147"/>
                  <a:gd name="T29" fmla="*/ 78 h 110"/>
                  <a:gd name="T30" fmla="*/ 102 w 147"/>
                  <a:gd name="T31" fmla="*/ 68 h 110"/>
                  <a:gd name="T32" fmla="*/ 134 w 147"/>
                  <a:gd name="T33" fmla="*/ 62 h 110"/>
                  <a:gd name="T34" fmla="*/ 134 w 147"/>
                  <a:gd name="T35" fmla="*/ 51 h 110"/>
                  <a:gd name="T36" fmla="*/ 146 w 147"/>
                  <a:gd name="T37" fmla="*/ 41 h 110"/>
                  <a:gd name="T38" fmla="*/ 137 w 147"/>
                  <a:gd name="T39" fmla="*/ 19 h 110"/>
                  <a:gd name="T40" fmla="*/ 131 w 147"/>
                  <a:gd name="T41" fmla="*/ 0 h 110"/>
                  <a:gd name="T42" fmla="*/ 87 w 147"/>
                  <a:gd name="T43" fmla="*/ 8 h 110"/>
                  <a:gd name="T44" fmla="*/ 76 w 147"/>
                  <a:gd name="T45" fmla="*/ 23 h 110"/>
                  <a:gd name="T46" fmla="*/ 70 w 147"/>
                  <a:gd name="T47" fmla="*/ 44 h 110"/>
                  <a:gd name="T48" fmla="*/ 51 w 147"/>
                  <a:gd name="T49" fmla="*/ 5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47" h="110">
                    <a:moveTo>
                      <a:pt x="51" y="59"/>
                    </a:moveTo>
                    <a:lnTo>
                      <a:pt x="51" y="46"/>
                    </a:lnTo>
                    <a:lnTo>
                      <a:pt x="51" y="36"/>
                    </a:lnTo>
                    <a:lnTo>
                      <a:pt x="45" y="34"/>
                    </a:lnTo>
                    <a:lnTo>
                      <a:pt x="28" y="33"/>
                    </a:lnTo>
                    <a:lnTo>
                      <a:pt x="11" y="34"/>
                    </a:lnTo>
                    <a:lnTo>
                      <a:pt x="0" y="41"/>
                    </a:lnTo>
                    <a:lnTo>
                      <a:pt x="2" y="74"/>
                    </a:lnTo>
                    <a:lnTo>
                      <a:pt x="2" y="91"/>
                    </a:lnTo>
                    <a:lnTo>
                      <a:pt x="8" y="101"/>
                    </a:lnTo>
                    <a:lnTo>
                      <a:pt x="23" y="109"/>
                    </a:lnTo>
                    <a:lnTo>
                      <a:pt x="34" y="98"/>
                    </a:lnTo>
                    <a:lnTo>
                      <a:pt x="48" y="84"/>
                    </a:lnTo>
                    <a:lnTo>
                      <a:pt x="53" y="79"/>
                    </a:lnTo>
                    <a:lnTo>
                      <a:pt x="91" y="78"/>
                    </a:lnTo>
                    <a:lnTo>
                      <a:pt x="102" y="68"/>
                    </a:lnTo>
                    <a:lnTo>
                      <a:pt x="134" y="62"/>
                    </a:lnTo>
                    <a:lnTo>
                      <a:pt x="134" y="51"/>
                    </a:lnTo>
                    <a:lnTo>
                      <a:pt x="146" y="41"/>
                    </a:lnTo>
                    <a:lnTo>
                      <a:pt x="137" y="19"/>
                    </a:lnTo>
                    <a:lnTo>
                      <a:pt x="131" y="0"/>
                    </a:lnTo>
                    <a:lnTo>
                      <a:pt x="87" y="8"/>
                    </a:lnTo>
                    <a:lnTo>
                      <a:pt x="76" y="23"/>
                    </a:lnTo>
                    <a:lnTo>
                      <a:pt x="70" y="44"/>
                    </a:lnTo>
                    <a:lnTo>
                      <a:pt x="51" y="5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95" name="Freeform 232">
                <a:extLst>
                  <a:ext uri="{FF2B5EF4-FFF2-40B4-BE49-F238E27FC236}">
                    <a16:creationId xmlns:a16="http://schemas.microsoft.com/office/drawing/2014/main" id="{5D285E29-5523-4584-8127-1879BA9818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7" y="2604"/>
                <a:ext cx="175" cy="291"/>
              </a:xfrm>
              <a:custGeom>
                <a:avLst/>
                <a:gdLst>
                  <a:gd name="T0" fmla="*/ 24 w 155"/>
                  <a:gd name="T1" fmla="*/ 0 h 260"/>
                  <a:gd name="T2" fmla="*/ 26 w 155"/>
                  <a:gd name="T3" fmla="*/ 8 h 260"/>
                  <a:gd name="T4" fmla="*/ 29 w 155"/>
                  <a:gd name="T5" fmla="*/ 14 h 260"/>
                  <a:gd name="T6" fmla="*/ 36 w 155"/>
                  <a:gd name="T7" fmla="*/ 30 h 260"/>
                  <a:gd name="T8" fmla="*/ 30 w 155"/>
                  <a:gd name="T9" fmla="*/ 108 h 260"/>
                  <a:gd name="T10" fmla="*/ 20 w 155"/>
                  <a:gd name="T11" fmla="*/ 112 h 260"/>
                  <a:gd name="T12" fmla="*/ 15 w 155"/>
                  <a:gd name="T13" fmla="*/ 121 h 260"/>
                  <a:gd name="T14" fmla="*/ 5 w 155"/>
                  <a:gd name="T15" fmla="*/ 127 h 260"/>
                  <a:gd name="T16" fmla="*/ 0 w 155"/>
                  <a:gd name="T17" fmla="*/ 135 h 260"/>
                  <a:gd name="T18" fmla="*/ 0 w 155"/>
                  <a:gd name="T19" fmla="*/ 149 h 260"/>
                  <a:gd name="T20" fmla="*/ 6 w 155"/>
                  <a:gd name="T21" fmla="*/ 148 h 260"/>
                  <a:gd name="T22" fmla="*/ 8 w 155"/>
                  <a:gd name="T23" fmla="*/ 158 h 260"/>
                  <a:gd name="T24" fmla="*/ 13 w 155"/>
                  <a:gd name="T25" fmla="*/ 166 h 260"/>
                  <a:gd name="T26" fmla="*/ 19 w 155"/>
                  <a:gd name="T27" fmla="*/ 180 h 260"/>
                  <a:gd name="T28" fmla="*/ 19 w 155"/>
                  <a:gd name="T29" fmla="*/ 188 h 260"/>
                  <a:gd name="T30" fmla="*/ 14 w 155"/>
                  <a:gd name="T31" fmla="*/ 191 h 260"/>
                  <a:gd name="T32" fmla="*/ 17 w 155"/>
                  <a:gd name="T33" fmla="*/ 194 h 260"/>
                  <a:gd name="T34" fmla="*/ 19 w 155"/>
                  <a:gd name="T35" fmla="*/ 202 h 260"/>
                  <a:gd name="T36" fmla="*/ 25 w 155"/>
                  <a:gd name="T37" fmla="*/ 210 h 260"/>
                  <a:gd name="T38" fmla="*/ 24 w 155"/>
                  <a:gd name="T39" fmla="*/ 218 h 260"/>
                  <a:gd name="T40" fmla="*/ 17 w 155"/>
                  <a:gd name="T41" fmla="*/ 221 h 260"/>
                  <a:gd name="T42" fmla="*/ 18 w 155"/>
                  <a:gd name="T43" fmla="*/ 229 h 260"/>
                  <a:gd name="T44" fmla="*/ 29 w 155"/>
                  <a:gd name="T45" fmla="*/ 243 h 260"/>
                  <a:gd name="T46" fmla="*/ 36 w 155"/>
                  <a:gd name="T47" fmla="*/ 259 h 260"/>
                  <a:gd name="T48" fmla="*/ 45 w 155"/>
                  <a:gd name="T49" fmla="*/ 254 h 260"/>
                  <a:gd name="T50" fmla="*/ 58 w 155"/>
                  <a:gd name="T51" fmla="*/ 256 h 260"/>
                  <a:gd name="T52" fmla="*/ 63 w 155"/>
                  <a:gd name="T53" fmla="*/ 246 h 260"/>
                  <a:gd name="T54" fmla="*/ 79 w 155"/>
                  <a:gd name="T55" fmla="*/ 245 h 260"/>
                  <a:gd name="T56" fmla="*/ 85 w 155"/>
                  <a:gd name="T57" fmla="*/ 235 h 260"/>
                  <a:gd name="T58" fmla="*/ 99 w 155"/>
                  <a:gd name="T59" fmla="*/ 232 h 260"/>
                  <a:gd name="T60" fmla="*/ 104 w 155"/>
                  <a:gd name="T61" fmla="*/ 221 h 260"/>
                  <a:gd name="T62" fmla="*/ 113 w 155"/>
                  <a:gd name="T63" fmla="*/ 218 h 260"/>
                  <a:gd name="T64" fmla="*/ 119 w 155"/>
                  <a:gd name="T65" fmla="*/ 206 h 260"/>
                  <a:gd name="T66" fmla="*/ 129 w 155"/>
                  <a:gd name="T67" fmla="*/ 196 h 260"/>
                  <a:gd name="T68" fmla="*/ 136 w 155"/>
                  <a:gd name="T69" fmla="*/ 194 h 260"/>
                  <a:gd name="T70" fmla="*/ 139 w 155"/>
                  <a:gd name="T71" fmla="*/ 189 h 260"/>
                  <a:gd name="T72" fmla="*/ 139 w 155"/>
                  <a:gd name="T73" fmla="*/ 182 h 260"/>
                  <a:gd name="T74" fmla="*/ 133 w 155"/>
                  <a:gd name="T75" fmla="*/ 179 h 260"/>
                  <a:gd name="T76" fmla="*/ 129 w 155"/>
                  <a:gd name="T77" fmla="*/ 168 h 260"/>
                  <a:gd name="T78" fmla="*/ 118 w 155"/>
                  <a:gd name="T79" fmla="*/ 163 h 260"/>
                  <a:gd name="T80" fmla="*/ 120 w 155"/>
                  <a:gd name="T81" fmla="*/ 154 h 260"/>
                  <a:gd name="T82" fmla="*/ 131 w 155"/>
                  <a:gd name="T83" fmla="*/ 153 h 260"/>
                  <a:gd name="T84" fmla="*/ 135 w 155"/>
                  <a:gd name="T85" fmla="*/ 139 h 260"/>
                  <a:gd name="T86" fmla="*/ 144 w 155"/>
                  <a:gd name="T87" fmla="*/ 123 h 260"/>
                  <a:gd name="T88" fmla="*/ 152 w 155"/>
                  <a:gd name="T89" fmla="*/ 119 h 260"/>
                  <a:gd name="T90" fmla="*/ 154 w 155"/>
                  <a:gd name="T91" fmla="*/ 77 h 260"/>
                  <a:gd name="T92" fmla="*/ 145 w 155"/>
                  <a:gd name="T93" fmla="*/ 75 h 260"/>
                  <a:gd name="T94" fmla="*/ 120 w 155"/>
                  <a:gd name="T95" fmla="*/ 57 h 260"/>
                  <a:gd name="T96" fmla="*/ 111 w 155"/>
                  <a:gd name="T97" fmla="*/ 52 h 260"/>
                  <a:gd name="T98" fmla="*/ 89 w 155"/>
                  <a:gd name="T99" fmla="*/ 41 h 260"/>
                  <a:gd name="T100" fmla="*/ 81 w 155"/>
                  <a:gd name="T101" fmla="*/ 28 h 260"/>
                  <a:gd name="T102" fmla="*/ 57 w 155"/>
                  <a:gd name="T103" fmla="*/ 24 h 260"/>
                  <a:gd name="T104" fmla="*/ 52 w 155"/>
                  <a:gd name="T105" fmla="*/ 12 h 260"/>
                  <a:gd name="T106" fmla="*/ 38 w 155"/>
                  <a:gd name="T107" fmla="*/ 7 h 260"/>
                  <a:gd name="T108" fmla="*/ 38 w 155"/>
                  <a:gd name="T109" fmla="*/ 2 h 260"/>
                  <a:gd name="T110" fmla="*/ 24 w 155"/>
                  <a:gd name="T11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5" h="260">
                    <a:moveTo>
                      <a:pt x="24" y="0"/>
                    </a:moveTo>
                    <a:lnTo>
                      <a:pt x="26" y="8"/>
                    </a:lnTo>
                    <a:lnTo>
                      <a:pt x="29" y="14"/>
                    </a:lnTo>
                    <a:lnTo>
                      <a:pt x="36" y="30"/>
                    </a:lnTo>
                    <a:lnTo>
                      <a:pt x="30" y="108"/>
                    </a:lnTo>
                    <a:lnTo>
                      <a:pt x="20" y="112"/>
                    </a:lnTo>
                    <a:lnTo>
                      <a:pt x="15" y="121"/>
                    </a:lnTo>
                    <a:lnTo>
                      <a:pt x="5" y="127"/>
                    </a:lnTo>
                    <a:lnTo>
                      <a:pt x="0" y="135"/>
                    </a:lnTo>
                    <a:lnTo>
                      <a:pt x="0" y="149"/>
                    </a:lnTo>
                    <a:lnTo>
                      <a:pt x="6" y="148"/>
                    </a:lnTo>
                    <a:lnTo>
                      <a:pt x="8" y="158"/>
                    </a:lnTo>
                    <a:lnTo>
                      <a:pt x="13" y="166"/>
                    </a:lnTo>
                    <a:lnTo>
                      <a:pt x="19" y="180"/>
                    </a:lnTo>
                    <a:lnTo>
                      <a:pt x="19" y="188"/>
                    </a:lnTo>
                    <a:lnTo>
                      <a:pt x="14" y="191"/>
                    </a:lnTo>
                    <a:lnTo>
                      <a:pt x="17" y="194"/>
                    </a:lnTo>
                    <a:lnTo>
                      <a:pt x="19" y="202"/>
                    </a:lnTo>
                    <a:lnTo>
                      <a:pt x="25" y="210"/>
                    </a:lnTo>
                    <a:lnTo>
                      <a:pt x="24" y="218"/>
                    </a:lnTo>
                    <a:lnTo>
                      <a:pt x="17" y="221"/>
                    </a:lnTo>
                    <a:lnTo>
                      <a:pt x="18" y="229"/>
                    </a:lnTo>
                    <a:lnTo>
                      <a:pt x="29" y="243"/>
                    </a:lnTo>
                    <a:lnTo>
                      <a:pt x="36" y="259"/>
                    </a:lnTo>
                    <a:lnTo>
                      <a:pt x="45" y="254"/>
                    </a:lnTo>
                    <a:lnTo>
                      <a:pt x="58" y="256"/>
                    </a:lnTo>
                    <a:lnTo>
                      <a:pt x="63" y="246"/>
                    </a:lnTo>
                    <a:lnTo>
                      <a:pt x="79" y="245"/>
                    </a:lnTo>
                    <a:lnTo>
                      <a:pt x="85" y="235"/>
                    </a:lnTo>
                    <a:lnTo>
                      <a:pt x="99" y="232"/>
                    </a:lnTo>
                    <a:lnTo>
                      <a:pt x="104" y="221"/>
                    </a:lnTo>
                    <a:lnTo>
                      <a:pt x="113" y="218"/>
                    </a:lnTo>
                    <a:lnTo>
                      <a:pt x="119" y="206"/>
                    </a:lnTo>
                    <a:lnTo>
                      <a:pt x="129" y="196"/>
                    </a:lnTo>
                    <a:lnTo>
                      <a:pt x="136" y="194"/>
                    </a:lnTo>
                    <a:lnTo>
                      <a:pt x="139" y="189"/>
                    </a:lnTo>
                    <a:lnTo>
                      <a:pt x="139" y="182"/>
                    </a:lnTo>
                    <a:lnTo>
                      <a:pt x="133" y="179"/>
                    </a:lnTo>
                    <a:lnTo>
                      <a:pt x="129" y="168"/>
                    </a:lnTo>
                    <a:lnTo>
                      <a:pt x="118" y="163"/>
                    </a:lnTo>
                    <a:lnTo>
                      <a:pt x="120" y="154"/>
                    </a:lnTo>
                    <a:lnTo>
                      <a:pt x="131" y="153"/>
                    </a:lnTo>
                    <a:lnTo>
                      <a:pt x="135" y="139"/>
                    </a:lnTo>
                    <a:lnTo>
                      <a:pt x="144" y="123"/>
                    </a:lnTo>
                    <a:lnTo>
                      <a:pt x="152" y="119"/>
                    </a:lnTo>
                    <a:lnTo>
                      <a:pt x="154" y="77"/>
                    </a:lnTo>
                    <a:lnTo>
                      <a:pt x="145" y="75"/>
                    </a:lnTo>
                    <a:lnTo>
                      <a:pt x="120" y="57"/>
                    </a:lnTo>
                    <a:lnTo>
                      <a:pt x="111" y="52"/>
                    </a:lnTo>
                    <a:lnTo>
                      <a:pt x="89" y="41"/>
                    </a:lnTo>
                    <a:lnTo>
                      <a:pt x="81" y="28"/>
                    </a:lnTo>
                    <a:lnTo>
                      <a:pt x="57" y="24"/>
                    </a:lnTo>
                    <a:lnTo>
                      <a:pt x="52" y="12"/>
                    </a:lnTo>
                    <a:lnTo>
                      <a:pt x="38" y="7"/>
                    </a:lnTo>
                    <a:lnTo>
                      <a:pt x="38" y="2"/>
                    </a:lnTo>
                    <a:lnTo>
                      <a:pt x="24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96" name="Freeform 233">
                <a:extLst>
                  <a:ext uri="{FF2B5EF4-FFF2-40B4-BE49-F238E27FC236}">
                    <a16:creationId xmlns:a16="http://schemas.microsoft.com/office/drawing/2014/main" id="{D7058CA9-589F-432C-866E-31DB075701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0" y="2589"/>
                <a:ext cx="247" cy="211"/>
              </a:xfrm>
              <a:custGeom>
                <a:avLst/>
                <a:gdLst>
                  <a:gd name="T0" fmla="*/ 50 w 221"/>
                  <a:gd name="T1" fmla="*/ 186 h 188"/>
                  <a:gd name="T2" fmla="*/ 55 w 221"/>
                  <a:gd name="T3" fmla="*/ 179 h 188"/>
                  <a:gd name="T4" fmla="*/ 60 w 221"/>
                  <a:gd name="T5" fmla="*/ 168 h 188"/>
                  <a:gd name="T6" fmla="*/ 73 w 221"/>
                  <a:gd name="T7" fmla="*/ 164 h 188"/>
                  <a:gd name="T8" fmla="*/ 84 w 221"/>
                  <a:gd name="T9" fmla="*/ 166 h 188"/>
                  <a:gd name="T10" fmla="*/ 91 w 221"/>
                  <a:gd name="T11" fmla="*/ 176 h 188"/>
                  <a:gd name="T12" fmla="*/ 92 w 221"/>
                  <a:gd name="T13" fmla="*/ 169 h 188"/>
                  <a:gd name="T14" fmla="*/ 109 w 221"/>
                  <a:gd name="T15" fmla="*/ 168 h 188"/>
                  <a:gd name="T16" fmla="*/ 120 w 221"/>
                  <a:gd name="T17" fmla="*/ 167 h 188"/>
                  <a:gd name="T18" fmla="*/ 128 w 221"/>
                  <a:gd name="T19" fmla="*/ 175 h 188"/>
                  <a:gd name="T20" fmla="*/ 140 w 221"/>
                  <a:gd name="T21" fmla="*/ 176 h 188"/>
                  <a:gd name="T22" fmla="*/ 142 w 221"/>
                  <a:gd name="T23" fmla="*/ 168 h 188"/>
                  <a:gd name="T24" fmla="*/ 160 w 221"/>
                  <a:gd name="T25" fmla="*/ 168 h 188"/>
                  <a:gd name="T26" fmla="*/ 168 w 221"/>
                  <a:gd name="T27" fmla="*/ 176 h 188"/>
                  <a:gd name="T28" fmla="*/ 175 w 221"/>
                  <a:gd name="T29" fmla="*/ 168 h 188"/>
                  <a:gd name="T30" fmla="*/ 185 w 221"/>
                  <a:gd name="T31" fmla="*/ 162 h 188"/>
                  <a:gd name="T32" fmla="*/ 185 w 221"/>
                  <a:gd name="T33" fmla="*/ 148 h 188"/>
                  <a:gd name="T34" fmla="*/ 190 w 221"/>
                  <a:gd name="T35" fmla="*/ 140 h 188"/>
                  <a:gd name="T36" fmla="*/ 200 w 221"/>
                  <a:gd name="T37" fmla="*/ 134 h 188"/>
                  <a:gd name="T38" fmla="*/ 205 w 221"/>
                  <a:gd name="T39" fmla="*/ 125 h 188"/>
                  <a:gd name="T40" fmla="*/ 215 w 221"/>
                  <a:gd name="T41" fmla="*/ 122 h 188"/>
                  <a:gd name="T42" fmla="*/ 220 w 221"/>
                  <a:gd name="T43" fmla="*/ 43 h 188"/>
                  <a:gd name="T44" fmla="*/ 213 w 221"/>
                  <a:gd name="T45" fmla="*/ 27 h 188"/>
                  <a:gd name="T46" fmla="*/ 211 w 221"/>
                  <a:gd name="T47" fmla="*/ 21 h 188"/>
                  <a:gd name="T48" fmla="*/ 208 w 221"/>
                  <a:gd name="T49" fmla="*/ 13 h 188"/>
                  <a:gd name="T50" fmla="*/ 200 w 221"/>
                  <a:gd name="T51" fmla="*/ 9 h 188"/>
                  <a:gd name="T52" fmla="*/ 182 w 221"/>
                  <a:gd name="T53" fmla="*/ 8 h 188"/>
                  <a:gd name="T54" fmla="*/ 181 w 221"/>
                  <a:gd name="T55" fmla="*/ 0 h 188"/>
                  <a:gd name="T56" fmla="*/ 162 w 221"/>
                  <a:gd name="T57" fmla="*/ 0 h 188"/>
                  <a:gd name="T58" fmla="*/ 157 w 221"/>
                  <a:gd name="T59" fmla="*/ 7 h 188"/>
                  <a:gd name="T60" fmla="*/ 143 w 221"/>
                  <a:gd name="T61" fmla="*/ 13 h 188"/>
                  <a:gd name="T62" fmla="*/ 131 w 221"/>
                  <a:gd name="T63" fmla="*/ 23 h 188"/>
                  <a:gd name="T64" fmla="*/ 124 w 221"/>
                  <a:gd name="T65" fmla="*/ 33 h 188"/>
                  <a:gd name="T66" fmla="*/ 102 w 221"/>
                  <a:gd name="T67" fmla="*/ 41 h 188"/>
                  <a:gd name="T68" fmla="*/ 99 w 221"/>
                  <a:gd name="T69" fmla="*/ 50 h 188"/>
                  <a:gd name="T70" fmla="*/ 91 w 221"/>
                  <a:gd name="T71" fmla="*/ 55 h 188"/>
                  <a:gd name="T72" fmla="*/ 81 w 221"/>
                  <a:gd name="T73" fmla="*/ 66 h 188"/>
                  <a:gd name="T74" fmla="*/ 57 w 221"/>
                  <a:gd name="T75" fmla="*/ 68 h 188"/>
                  <a:gd name="T76" fmla="*/ 55 w 221"/>
                  <a:gd name="T77" fmla="*/ 76 h 188"/>
                  <a:gd name="T78" fmla="*/ 58 w 221"/>
                  <a:gd name="T79" fmla="*/ 123 h 188"/>
                  <a:gd name="T80" fmla="*/ 48 w 221"/>
                  <a:gd name="T81" fmla="*/ 125 h 188"/>
                  <a:gd name="T82" fmla="*/ 48 w 221"/>
                  <a:gd name="T83" fmla="*/ 133 h 188"/>
                  <a:gd name="T84" fmla="*/ 11 w 221"/>
                  <a:gd name="T85" fmla="*/ 139 h 188"/>
                  <a:gd name="T86" fmla="*/ 0 w 221"/>
                  <a:gd name="T87" fmla="*/ 146 h 188"/>
                  <a:gd name="T88" fmla="*/ 4 w 221"/>
                  <a:gd name="T89" fmla="*/ 155 h 188"/>
                  <a:gd name="T90" fmla="*/ 13 w 221"/>
                  <a:gd name="T91" fmla="*/ 160 h 188"/>
                  <a:gd name="T92" fmla="*/ 14 w 221"/>
                  <a:gd name="T93" fmla="*/ 175 h 188"/>
                  <a:gd name="T94" fmla="*/ 24 w 221"/>
                  <a:gd name="T95" fmla="*/ 176 h 188"/>
                  <a:gd name="T96" fmla="*/ 32 w 221"/>
                  <a:gd name="T97" fmla="*/ 187 h 188"/>
                  <a:gd name="T98" fmla="*/ 45 w 221"/>
                  <a:gd name="T99" fmla="*/ 186 h 188"/>
                  <a:gd name="T100" fmla="*/ 50 w 221"/>
                  <a:gd name="T101" fmla="*/ 186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21" h="188">
                    <a:moveTo>
                      <a:pt x="50" y="186"/>
                    </a:moveTo>
                    <a:lnTo>
                      <a:pt x="55" y="179"/>
                    </a:lnTo>
                    <a:lnTo>
                      <a:pt x="60" y="168"/>
                    </a:lnTo>
                    <a:lnTo>
                      <a:pt x="73" y="164"/>
                    </a:lnTo>
                    <a:lnTo>
                      <a:pt x="84" y="166"/>
                    </a:lnTo>
                    <a:lnTo>
                      <a:pt x="91" y="176"/>
                    </a:lnTo>
                    <a:lnTo>
                      <a:pt x="92" y="169"/>
                    </a:lnTo>
                    <a:lnTo>
                      <a:pt x="109" y="168"/>
                    </a:lnTo>
                    <a:lnTo>
                      <a:pt x="120" y="167"/>
                    </a:lnTo>
                    <a:lnTo>
                      <a:pt x="128" y="175"/>
                    </a:lnTo>
                    <a:lnTo>
                      <a:pt x="140" y="176"/>
                    </a:lnTo>
                    <a:lnTo>
                      <a:pt x="142" y="168"/>
                    </a:lnTo>
                    <a:lnTo>
                      <a:pt x="160" y="168"/>
                    </a:lnTo>
                    <a:lnTo>
                      <a:pt x="168" y="176"/>
                    </a:lnTo>
                    <a:lnTo>
                      <a:pt x="175" y="168"/>
                    </a:lnTo>
                    <a:lnTo>
                      <a:pt x="185" y="162"/>
                    </a:lnTo>
                    <a:lnTo>
                      <a:pt x="185" y="148"/>
                    </a:lnTo>
                    <a:lnTo>
                      <a:pt x="190" y="140"/>
                    </a:lnTo>
                    <a:lnTo>
                      <a:pt x="200" y="134"/>
                    </a:lnTo>
                    <a:lnTo>
                      <a:pt x="205" y="125"/>
                    </a:lnTo>
                    <a:lnTo>
                      <a:pt x="215" y="122"/>
                    </a:lnTo>
                    <a:lnTo>
                      <a:pt x="220" y="43"/>
                    </a:lnTo>
                    <a:lnTo>
                      <a:pt x="213" y="27"/>
                    </a:lnTo>
                    <a:lnTo>
                      <a:pt x="211" y="21"/>
                    </a:lnTo>
                    <a:lnTo>
                      <a:pt x="208" y="13"/>
                    </a:lnTo>
                    <a:lnTo>
                      <a:pt x="200" y="9"/>
                    </a:lnTo>
                    <a:lnTo>
                      <a:pt x="182" y="8"/>
                    </a:lnTo>
                    <a:lnTo>
                      <a:pt x="181" y="0"/>
                    </a:lnTo>
                    <a:lnTo>
                      <a:pt x="162" y="0"/>
                    </a:lnTo>
                    <a:lnTo>
                      <a:pt x="157" y="7"/>
                    </a:lnTo>
                    <a:lnTo>
                      <a:pt x="143" y="13"/>
                    </a:lnTo>
                    <a:lnTo>
                      <a:pt x="131" y="23"/>
                    </a:lnTo>
                    <a:lnTo>
                      <a:pt x="124" y="33"/>
                    </a:lnTo>
                    <a:lnTo>
                      <a:pt x="102" y="41"/>
                    </a:lnTo>
                    <a:lnTo>
                      <a:pt x="99" y="50"/>
                    </a:lnTo>
                    <a:lnTo>
                      <a:pt x="91" y="55"/>
                    </a:lnTo>
                    <a:lnTo>
                      <a:pt x="81" y="66"/>
                    </a:lnTo>
                    <a:lnTo>
                      <a:pt x="57" y="68"/>
                    </a:lnTo>
                    <a:lnTo>
                      <a:pt x="55" y="76"/>
                    </a:lnTo>
                    <a:lnTo>
                      <a:pt x="58" y="123"/>
                    </a:lnTo>
                    <a:lnTo>
                      <a:pt x="48" y="125"/>
                    </a:lnTo>
                    <a:lnTo>
                      <a:pt x="48" y="133"/>
                    </a:lnTo>
                    <a:lnTo>
                      <a:pt x="11" y="139"/>
                    </a:lnTo>
                    <a:lnTo>
                      <a:pt x="0" y="146"/>
                    </a:lnTo>
                    <a:lnTo>
                      <a:pt x="4" y="155"/>
                    </a:lnTo>
                    <a:lnTo>
                      <a:pt x="13" y="160"/>
                    </a:lnTo>
                    <a:lnTo>
                      <a:pt x="14" y="175"/>
                    </a:lnTo>
                    <a:lnTo>
                      <a:pt x="24" y="176"/>
                    </a:lnTo>
                    <a:lnTo>
                      <a:pt x="32" y="187"/>
                    </a:lnTo>
                    <a:lnTo>
                      <a:pt x="45" y="186"/>
                    </a:lnTo>
                    <a:lnTo>
                      <a:pt x="50" y="186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97" name="Freeform 234">
                <a:extLst>
                  <a:ext uri="{FF2B5EF4-FFF2-40B4-BE49-F238E27FC236}">
                    <a16:creationId xmlns:a16="http://schemas.microsoft.com/office/drawing/2014/main" id="{FE17427B-5343-4A33-97D7-B7DF848F24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1" y="2398"/>
                <a:ext cx="67" cy="83"/>
              </a:xfrm>
              <a:custGeom>
                <a:avLst/>
                <a:gdLst>
                  <a:gd name="T0" fmla="*/ 18 w 60"/>
                  <a:gd name="T1" fmla="*/ 72 h 73"/>
                  <a:gd name="T2" fmla="*/ 31 w 60"/>
                  <a:gd name="T3" fmla="*/ 59 h 73"/>
                  <a:gd name="T4" fmla="*/ 44 w 60"/>
                  <a:gd name="T5" fmla="*/ 49 h 73"/>
                  <a:gd name="T6" fmla="*/ 44 w 60"/>
                  <a:gd name="T7" fmla="*/ 29 h 73"/>
                  <a:gd name="T8" fmla="*/ 59 w 60"/>
                  <a:gd name="T9" fmla="*/ 15 h 73"/>
                  <a:gd name="T10" fmla="*/ 50 w 60"/>
                  <a:gd name="T11" fmla="*/ 0 h 73"/>
                  <a:gd name="T12" fmla="*/ 32 w 60"/>
                  <a:gd name="T13" fmla="*/ 14 h 73"/>
                  <a:gd name="T14" fmla="*/ 13 w 60"/>
                  <a:gd name="T15" fmla="*/ 12 h 73"/>
                  <a:gd name="T16" fmla="*/ 3 w 60"/>
                  <a:gd name="T17" fmla="*/ 3 h 73"/>
                  <a:gd name="T18" fmla="*/ 3 w 60"/>
                  <a:gd name="T19" fmla="*/ 36 h 73"/>
                  <a:gd name="T20" fmla="*/ 0 w 60"/>
                  <a:gd name="T21" fmla="*/ 54 h 73"/>
                  <a:gd name="T22" fmla="*/ 0 w 60"/>
                  <a:gd name="T23" fmla="*/ 72 h 73"/>
                  <a:gd name="T24" fmla="*/ 18 w 60"/>
                  <a:gd name="T25" fmla="*/ 72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0" h="73">
                    <a:moveTo>
                      <a:pt x="18" y="72"/>
                    </a:moveTo>
                    <a:lnTo>
                      <a:pt x="31" y="59"/>
                    </a:lnTo>
                    <a:lnTo>
                      <a:pt x="44" y="49"/>
                    </a:lnTo>
                    <a:lnTo>
                      <a:pt x="44" y="29"/>
                    </a:lnTo>
                    <a:lnTo>
                      <a:pt x="59" y="15"/>
                    </a:lnTo>
                    <a:lnTo>
                      <a:pt x="50" y="0"/>
                    </a:lnTo>
                    <a:lnTo>
                      <a:pt x="32" y="14"/>
                    </a:lnTo>
                    <a:lnTo>
                      <a:pt x="13" y="12"/>
                    </a:lnTo>
                    <a:lnTo>
                      <a:pt x="3" y="3"/>
                    </a:lnTo>
                    <a:lnTo>
                      <a:pt x="3" y="36"/>
                    </a:lnTo>
                    <a:lnTo>
                      <a:pt x="0" y="54"/>
                    </a:lnTo>
                    <a:lnTo>
                      <a:pt x="0" y="72"/>
                    </a:lnTo>
                    <a:lnTo>
                      <a:pt x="18" y="7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98" name="Freeform 235">
                <a:extLst>
                  <a:ext uri="{FF2B5EF4-FFF2-40B4-BE49-F238E27FC236}">
                    <a16:creationId xmlns:a16="http://schemas.microsoft.com/office/drawing/2014/main" id="{93BAF145-7436-4395-96BD-BE8AD02BE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2" y="2321"/>
                <a:ext cx="98" cy="94"/>
              </a:xfrm>
              <a:custGeom>
                <a:avLst/>
                <a:gdLst>
                  <a:gd name="T0" fmla="*/ 0 w 87"/>
                  <a:gd name="T1" fmla="*/ 70 h 82"/>
                  <a:gd name="T2" fmla="*/ 10 w 87"/>
                  <a:gd name="T3" fmla="*/ 79 h 82"/>
                  <a:gd name="T4" fmla="*/ 30 w 87"/>
                  <a:gd name="T5" fmla="*/ 81 h 82"/>
                  <a:gd name="T6" fmla="*/ 48 w 87"/>
                  <a:gd name="T7" fmla="*/ 68 h 82"/>
                  <a:gd name="T8" fmla="*/ 64 w 87"/>
                  <a:gd name="T9" fmla="*/ 59 h 82"/>
                  <a:gd name="T10" fmla="*/ 83 w 87"/>
                  <a:gd name="T11" fmla="*/ 48 h 82"/>
                  <a:gd name="T12" fmla="*/ 85 w 87"/>
                  <a:gd name="T13" fmla="*/ 34 h 82"/>
                  <a:gd name="T14" fmla="*/ 86 w 87"/>
                  <a:gd name="T15" fmla="*/ 15 h 82"/>
                  <a:gd name="T16" fmla="*/ 81 w 87"/>
                  <a:gd name="T17" fmla="*/ 0 h 82"/>
                  <a:gd name="T18" fmla="*/ 61 w 87"/>
                  <a:gd name="T19" fmla="*/ 4 h 82"/>
                  <a:gd name="T20" fmla="*/ 45 w 87"/>
                  <a:gd name="T21" fmla="*/ 4 h 82"/>
                  <a:gd name="T22" fmla="*/ 22 w 87"/>
                  <a:gd name="T23" fmla="*/ 6 h 82"/>
                  <a:gd name="T24" fmla="*/ 9 w 87"/>
                  <a:gd name="T25" fmla="*/ 9 h 82"/>
                  <a:gd name="T26" fmla="*/ 5 w 87"/>
                  <a:gd name="T27" fmla="*/ 23 h 82"/>
                  <a:gd name="T28" fmla="*/ 9 w 87"/>
                  <a:gd name="T29" fmla="*/ 38 h 82"/>
                  <a:gd name="T30" fmla="*/ 22 w 87"/>
                  <a:gd name="T31" fmla="*/ 48 h 82"/>
                  <a:gd name="T32" fmla="*/ 15 w 87"/>
                  <a:gd name="T33" fmla="*/ 63 h 82"/>
                  <a:gd name="T34" fmla="*/ 0 w 87"/>
                  <a:gd name="T35" fmla="*/ 7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7" h="82">
                    <a:moveTo>
                      <a:pt x="0" y="70"/>
                    </a:moveTo>
                    <a:lnTo>
                      <a:pt x="10" y="79"/>
                    </a:lnTo>
                    <a:lnTo>
                      <a:pt x="30" y="81"/>
                    </a:lnTo>
                    <a:lnTo>
                      <a:pt x="48" y="68"/>
                    </a:lnTo>
                    <a:lnTo>
                      <a:pt x="64" y="59"/>
                    </a:lnTo>
                    <a:lnTo>
                      <a:pt x="83" y="48"/>
                    </a:lnTo>
                    <a:lnTo>
                      <a:pt x="85" y="34"/>
                    </a:lnTo>
                    <a:lnTo>
                      <a:pt x="86" y="15"/>
                    </a:lnTo>
                    <a:lnTo>
                      <a:pt x="81" y="0"/>
                    </a:lnTo>
                    <a:lnTo>
                      <a:pt x="61" y="4"/>
                    </a:lnTo>
                    <a:lnTo>
                      <a:pt x="45" y="4"/>
                    </a:lnTo>
                    <a:lnTo>
                      <a:pt x="22" y="6"/>
                    </a:lnTo>
                    <a:lnTo>
                      <a:pt x="9" y="9"/>
                    </a:lnTo>
                    <a:lnTo>
                      <a:pt x="5" y="23"/>
                    </a:lnTo>
                    <a:lnTo>
                      <a:pt x="9" y="38"/>
                    </a:lnTo>
                    <a:lnTo>
                      <a:pt x="22" y="48"/>
                    </a:lnTo>
                    <a:lnTo>
                      <a:pt x="15" y="63"/>
                    </a:lnTo>
                    <a:lnTo>
                      <a:pt x="0" y="7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99" name="Freeform 236">
                <a:extLst>
                  <a:ext uri="{FF2B5EF4-FFF2-40B4-BE49-F238E27FC236}">
                    <a16:creationId xmlns:a16="http://schemas.microsoft.com/office/drawing/2014/main" id="{9674239D-4B3D-42C8-AF14-C6FA6D1A1F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5" y="2294"/>
                <a:ext cx="215" cy="193"/>
              </a:xfrm>
              <a:custGeom>
                <a:avLst/>
                <a:gdLst>
                  <a:gd name="T0" fmla="*/ 191 w 192"/>
                  <a:gd name="T1" fmla="*/ 29 h 173"/>
                  <a:gd name="T2" fmla="*/ 160 w 192"/>
                  <a:gd name="T3" fmla="*/ 27 h 173"/>
                  <a:gd name="T4" fmla="*/ 145 w 192"/>
                  <a:gd name="T5" fmla="*/ 20 h 173"/>
                  <a:gd name="T6" fmla="*/ 138 w 192"/>
                  <a:gd name="T7" fmla="*/ 2 h 173"/>
                  <a:gd name="T8" fmla="*/ 130 w 192"/>
                  <a:gd name="T9" fmla="*/ 0 h 173"/>
                  <a:gd name="T10" fmla="*/ 124 w 192"/>
                  <a:gd name="T11" fmla="*/ 13 h 173"/>
                  <a:gd name="T12" fmla="*/ 102 w 192"/>
                  <a:gd name="T13" fmla="*/ 18 h 173"/>
                  <a:gd name="T14" fmla="*/ 93 w 192"/>
                  <a:gd name="T15" fmla="*/ 23 h 173"/>
                  <a:gd name="T16" fmla="*/ 81 w 192"/>
                  <a:gd name="T17" fmla="*/ 18 h 173"/>
                  <a:gd name="T18" fmla="*/ 62 w 192"/>
                  <a:gd name="T19" fmla="*/ 17 h 173"/>
                  <a:gd name="T20" fmla="*/ 54 w 192"/>
                  <a:gd name="T21" fmla="*/ 23 h 173"/>
                  <a:gd name="T22" fmla="*/ 43 w 192"/>
                  <a:gd name="T23" fmla="*/ 25 h 173"/>
                  <a:gd name="T24" fmla="*/ 40 w 192"/>
                  <a:gd name="T25" fmla="*/ 32 h 173"/>
                  <a:gd name="T26" fmla="*/ 30 w 192"/>
                  <a:gd name="T27" fmla="*/ 38 h 173"/>
                  <a:gd name="T28" fmla="*/ 28 w 192"/>
                  <a:gd name="T29" fmla="*/ 51 h 173"/>
                  <a:gd name="T30" fmla="*/ 13 w 192"/>
                  <a:gd name="T31" fmla="*/ 54 h 173"/>
                  <a:gd name="T32" fmla="*/ 0 w 192"/>
                  <a:gd name="T33" fmla="*/ 66 h 173"/>
                  <a:gd name="T34" fmla="*/ 3 w 192"/>
                  <a:gd name="T35" fmla="*/ 88 h 173"/>
                  <a:gd name="T36" fmla="*/ 0 w 192"/>
                  <a:gd name="T37" fmla="*/ 123 h 173"/>
                  <a:gd name="T38" fmla="*/ 17 w 192"/>
                  <a:gd name="T39" fmla="*/ 123 h 173"/>
                  <a:gd name="T40" fmla="*/ 22 w 192"/>
                  <a:gd name="T41" fmla="*/ 140 h 173"/>
                  <a:gd name="T42" fmla="*/ 14 w 192"/>
                  <a:gd name="T43" fmla="*/ 151 h 173"/>
                  <a:gd name="T44" fmla="*/ 14 w 192"/>
                  <a:gd name="T45" fmla="*/ 165 h 173"/>
                  <a:gd name="T46" fmla="*/ 30 w 192"/>
                  <a:gd name="T47" fmla="*/ 172 h 173"/>
                  <a:gd name="T48" fmla="*/ 36 w 192"/>
                  <a:gd name="T49" fmla="*/ 160 h 173"/>
                  <a:gd name="T50" fmla="*/ 77 w 192"/>
                  <a:gd name="T51" fmla="*/ 156 h 173"/>
                  <a:gd name="T52" fmla="*/ 83 w 192"/>
                  <a:gd name="T53" fmla="*/ 140 h 173"/>
                  <a:gd name="T54" fmla="*/ 95 w 192"/>
                  <a:gd name="T55" fmla="*/ 132 h 173"/>
                  <a:gd name="T56" fmla="*/ 111 w 192"/>
                  <a:gd name="T57" fmla="*/ 122 h 173"/>
                  <a:gd name="T58" fmla="*/ 124 w 192"/>
                  <a:gd name="T59" fmla="*/ 121 h 173"/>
                  <a:gd name="T60" fmla="*/ 127 w 192"/>
                  <a:gd name="T61" fmla="*/ 103 h 173"/>
                  <a:gd name="T62" fmla="*/ 138 w 192"/>
                  <a:gd name="T63" fmla="*/ 97 h 173"/>
                  <a:gd name="T64" fmla="*/ 143 w 192"/>
                  <a:gd name="T65" fmla="*/ 82 h 173"/>
                  <a:gd name="T66" fmla="*/ 149 w 192"/>
                  <a:gd name="T67" fmla="*/ 64 h 173"/>
                  <a:gd name="T68" fmla="*/ 153 w 192"/>
                  <a:gd name="T69" fmla="*/ 48 h 173"/>
                  <a:gd name="T70" fmla="*/ 166 w 192"/>
                  <a:gd name="T71" fmla="*/ 43 h 173"/>
                  <a:gd name="T72" fmla="*/ 176 w 192"/>
                  <a:gd name="T73" fmla="*/ 45 h 173"/>
                  <a:gd name="T74" fmla="*/ 188 w 192"/>
                  <a:gd name="T75" fmla="*/ 52 h 173"/>
                  <a:gd name="T76" fmla="*/ 191 w 192"/>
                  <a:gd name="T77" fmla="*/ 29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92" h="173">
                    <a:moveTo>
                      <a:pt x="191" y="29"/>
                    </a:moveTo>
                    <a:lnTo>
                      <a:pt x="160" y="27"/>
                    </a:lnTo>
                    <a:lnTo>
                      <a:pt x="145" y="20"/>
                    </a:lnTo>
                    <a:lnTo>
                      <a:pt x="138" y="2"/>
                    </a:lnTo>
                    <a:lnTo>
                      <a:pt x="130" y="0"/>
                    </a:lnTo>
                    <a:lnTo>
                      <a:pt x="124" y="13"/>
                    </a:lnTo>
                    <a:lnTo>
                      <a:pt x="102" y="18"/>
                    </a:lnTo>
                    <a:lnTo>
                      <a:pt x="93" y="23"/>
                    </a:lnTo>
                    <a:lnTo>
                      <a:pt x="81" y="18"/>
                    </a:lnTo>
                    <a:lnTo>
                      <a:pt x="62" y="17"/>
                    </a:lnTo>
                    <a:lnTo>
                      <a:pt x="54" y="23"/>
                    </a:lnTo>
                    <a:lnTo>
                      <a:pt x="43" y="25"/>
                    </a:lnTo>
                    <a:lnTo>
                      <a:pt x="40" y="32"/>
                    </a:lnTo>
                    <a:lnTo>
                      <a:pt x="30" y="38"/>
                    </a:lnTo>
                    <a:lnTo>
                      <a:pt x="28" y="51"/>
                    </a:lnTo>
                    <a:lnTo>
                      <a:pt x="13" y="54"/>
                    </a:lnTo>
                    <a:lnTo>
                      <a:pt x="0" y="66"/>
                    </a:lnTo>
                    <a:lnTo>
                      <a:pt x="3" y="88"/>
                    </a:lnTo>
                    <a:lnTo>
                      <a:pt x="0" y="123"/>
                    </a:lnTo>
                    <a:lnTo>
                      <a:pt x="17" y="123"/>
                    </a:lnTo>
                    <a:lnTo>
                      <a:pt x="22" y="140"/>
                    </a:lnTo>
                    <a:lnTo>
                      <a:pt x="14" y="151"/>
                    </a:lnTo>
                    <a:lnTo>
                      <a:pt x="14" y="165"/>
                    </a:lnTo>
                    <a:lnTo>
                      <a:pt x="30" y="172"/>
                    </a:lnTo>
                    <a:lnTo>
                      <a:pt x="36" y="160"/>
                    </a:lnTo>
                    <a:lnTo>
                      <a:pt x="77" y="156"/>
                    </a:lnTo>
                    <a:lnTo>
                      <a:pt x="83" y="140"/>
                    </a:lnTo>
                    <a:lnTo>
                      <a:pt x="95" y="132"/>
                    </a:lnTo>
                    <a:lnTo>
                      <a:pt x="111" y="122"/>
                    </a:lnTo>
                    <a:lnTo>
                      <a:pt x="124" y="121"/>
                    </a:lnTo>
                    <a:lnTo>
                      <a:pt x="127" y="103"/>
                    </a:lnTo>
                    <a:lnTo>
                      <a:pt x="138" y="97"/>
                    </a:lnTo>
                    <a:lnTo>
                      <a:pt x="143" y="82"/>
                    </a:lnTo>
                    <a:lnTo>
                      <a:pt x="149" y="64"/>
                    </a:lnTo>
                    <a:lnTo>
                      <a:pt x="153" y="48"/>
                    </a:lnTo>
                    <a:lnTo>
                      <a:pt x="166" y="43"/>
                    </a:lnTo>
                    <a:lnTo>
                      <a:pt x="176" y="45"/>
                    </a:lnTo>
                    <a:lnTo>
                      <a:pt x="188" y="52"/>
                    </a:lnTo>
                    <a:lnTo>
                      <a:pt x="191" y="2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00" name="Freeform 237">
                <a:extLst>
                  <a:ext uri="{FF2B5EF4-FFF2-40B4-BE49-F238E27FC236}">
                    <a16:creationId xmlns:a16="http://schemas.microsoft.com/office/drawing/2014/main" id="{CEC45965-BF6E-4B04-9663-E6F6A94371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" y="2223"/>
                <a:ext cx="206" cy="146"/>
              </a:xfrm>
              <a:custGeom>
                <a:avLst/>
                <a:gdLst>
                  <a:gd name="T0" fmla="*/ 181 w 184"/>
                  <a:gd name="T1" fmla="*/ 82 h 131"/>
                  <a:gd name="T2" fmla="*/ 174 w 184"/>
                  <a:gd name="T3" fmla="*/ 88 h 131"/>
                  <a:gd name="T4" fmla="*/ 163 w 184"/>
                  <a:gd name="T5" fmla="*/ 89 h 131"/>
                  <a:gd name="T6" fmla="*/ 159 w 184"/>
                  <a:gd name="T7" fmla="*/ 97 h 131"/>
                  <a:gd name="T8" fmla="*/ 149 w 184"/>
                  <a:gd name="T9" fmla="*/ 103 h 131"/>
                  <a:gd name="T10" fmla="*/ 147 w 184"/>
                  <a:gd name="T11" fmla="*/ 116 h 131"/>
                  <a:gd name="T12" fmla="*/ 132 w 184"/>
                  <a:gd name="T13" fmla="*/ 119 h 131"/>
                  <a:gd name="T14" fmla="*/ 119 w 184"/>
                  <a:gd name="T15" fmla="*/ 130 h 131"/>
                  <a:gd name="T16" fmla="*/ 124 w 184"/>
                  <a:gd name="T17" fmla="*/ 98 h 131"/>
                  <a:gd name="T18" fmla="*/ 104 w 184"/>
                  <a:gd name="T19" fmla="*/ 88 h 131"/>
                  <a:gd name="T20" fmla="*/ 81 w 184"/>
                  <a:gd name="T21" fmla="*/ 71 h 131"/>
                  <a:gd name="T22" fmla="*/ 66 w 184"/>
                  <a:gd name="T23" fmla="*/ 70 h 131"/>
                  <a:gd name="T24" fmla="*/ 40 w 184"/>
                  <a:gd name="T25" fmla="*/ 65 h 131"/>
                  <a:gd name="T26" fmla="*/ 33 w 184"/>
                  <a:gd name="T27" fmla="*/ 77 h 131"/>
                  <a:gd name="T28" fmla="*/ 19 w 184"/>
                  <a:gd name="T29" fmla="*/ 83 h 131"/>
                  <a:gd name="T30" fmla="*/ 16 w 184"/>
                  <a:gd name="T31" fmla="*/ 65 h 131"/>
                  <a:gd name="T32" fmla="*/ 14 w 184"/>
                  <a:gd name="T33" fmla="*/ 55 h 131"/>
                  <a:gd name="T34" fmla="*/ 11 w 184"/>
                  <a:gd name="T35" fmla="*/ 48 h 131"/>
                  <a:gd name="T36" fmla="*/ 9 w 184"/>
                  <a:gd name="T37" fmla="*/ 31 h 131"/>
                  <a:gd name="T38" fmla="*/ 3 w 184"/>
                  <a:gd name="T39" fmla="*/ 25 h 131"/>
                  <a:gd name="T40" fmla="*/ 7 w 184"/>
                  <a:gd name="T41" fmla="*/ 19 h 131"/>
                  <a:gd name="T42" fmla="*/ 0 w 184"/>
                  <a:gd name="T43" fmla="*/ 14 h 131"/>
                  <a:gd name="T44" fmla="*/ 1 w 184"/>
                  <a:gd name="T45" fmla="*/ 3 h 131"/>
                  <a:gd name="T46" fmla="*/ 16 w 184"/>
                  <a:gd name="T47" fmla="*/ 19 h 131"/>
                  <a:gd name="T48" fmla="*/ 24 w 184"/>
                  <a:gd name="T49" fmla="*/ 6 h 131"/>
                  <a:gd name="T50" fmla="*/ 37 w 184"/>
                  <a:gd name="T51" fmla="*/ 0 h 131"/>
                  <a:gd name="T52" fmla="*/ 49 w 184"/>
                  <a:gd name="T53" fmla="*/ 5 h 131"/>
                  <a:gd name="T54" fmla="*/ 49 w 184"/>
                  <a:gd name="T55" fmla="*/ 14 h 131"/>
                  <a:gd name="T56" fmla="*/ 63 w 184"/>
                  <a:gd name="T57" fmla="*/ 19 h 131"/>
                  <a:gd name="T58" fmla="*/ 81 w 184"/>
                  <a:gd name="T59" fmla="*/ 24 h 131"/>
                  <a:gd name="T60" fmla="*/ 83 w 184"/>
                  <a:gd name="T61" fmla="*/ 14 h 131"/>
                  <a:gd name="T62" fmla="*/ 92 w 184"/>
                  <a:gd name="T63" fmla="*/ 11 h 131"/>
                  <a:gd name="T64" fmla="*/ 102 w 184"/>
                  <a:gd name="T65" fmla="*/ 6 h 131"/>
                  <a:gd name="T66" fmla="*/ 107 w 184"/>
                  <a:gd name="T67" fmla="*/ 14 h 131"/>
                  <a:gd name="T68" fmla="*/ 114 w 184"/>
                  <a:gd name="T69" fmla="*/ 20 h 131"/>
                  <a:gd name="T70" fmla="*/ 111 w 184"/>
                  <a:gd name="T71" fmla="*/ 28 h 131"/>
                  <a:gd name="T72" fmla="*/ 122 w 184"/>
                  <a:gd name="T73" fmla="*/ 31 h 131"/>
                  <a:gd name="T74" fmla="*/ 129 w 184"/>
                  <a:gd name="T75" fmla="*/ 31 h 131"/>
                  <a:gd name="T76" fmla="*/ 137 w 184"/>
                  <a:gd name="T77" fmla="*/ 34 h 131"/>
                  <a:gd name="T78" fmla="*/ 133 w 184"/>
                  <a:gd name="T79" fmla="*/ 46 h 131"/>
                  <a:gd name="T80" fmla="*/ 167 w 184"/>
                  <a:gd name="T81" fmla="*/ 72 h 131"/>
                  <a:gd name="T82" fmla="*/ 175 w 184"/>
                  <a:gd name="T83" fmla="*/ 68 h 131"/>
                  <a:gd name="T84" fmla="*/ 183 w 184"/>
                  <a:gd name="T85" fmla="*/ 71 h 131"/>
                  <a:gd name="T86" fmla="*/ 181 w 184"/>
                  <a:gd name="T87" fmla="*/ 82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84" h="131">
                    <a:moveTo>
                      <a:pt x="181" y="82"/>
                    </a:moveTo>
                    <a:lnTo>
                      <a:pt x="174" y="88"/>
                    </a:lnTo>
                    <a:lnTo>
                      <a:pt x="163" y="89"/>
                    </a:lnTo>
                    <a:lnTo>
                      <a:pt x="159" y="97"/>
                    </a:lnTo>
                    <a:lnTo>
                      <a:pt x="149" y="103"/>
                    </a:lnTo>
                    <a:lnTo>
                      <a:pt x="147" y="116"/>
                    </a:lnTo>
                    <a:lnTo>
                      <a:pt x="132" y="119"/>
                    </a:lnTo>
                    <a:lnTo>
                      <a:pt x="119" y="130"/>
                    </a:lnTo>
                    <a:lnTo>
                      <a:pt x="124" y="98"/>
                    </a:lnTo>
                    <a:lnTo>
                      <a:pt x="104" y="88"/>
                    </a:lnTo>
                    <a:lnTo>
                      <a:pt x="81" y="71"/>
                    </a:lnTo>
                    <a:lnTo>
                      <a:pt x="66" y="70"/>
                    </a:lnTo>
                    <a:lnTo>
                      <a:pt x="40" y="65"/>
                    </a:lnTo>
                    <a:lnTo>
                      <a:pt x="33" y="77"/>
                    </a:lnTo>
                    <a:lnTo>
                      <a:pt x="19" y="83"/>
                    </a:lnTo>
                    <a:lnTo>
                      <a:pt x="16" y="65"/>
                    </a:lnTo>
                    <a:lnTo>
                      <a:pt x="14" y="55"/>
                    </a:lnTo>
                    <a:lnTo>
                      <a:pt x="11" y="48"/>
                    </a:lnTo>
                    <a:lnTo>
                      <a:pt x="9" y="31"/>
                    </a:lnTo>
                    <a:lnTo>
                      <a:pt x="3" y="25"/>
                    </a:lnTo>
                    <a:lnTo>
                      <a:pt x="7" y="19"/>
                    </a:lnTo>
                    <a:lnTo>
                      <a:pt x="0" y="14"/>
                    </a:lnTo>
                    <a:lnTo>
                      <a:pt x="1" y="3"/>
                    </a:lnTo>
                    <a:lnTo>
                      <a:pt x="16" y="19"/>
                    </a:lnTo>
                    <a:lnTo>
                      <a:pt x="24" y="6"/>
                    </a:lnTo>
                    <a:lnTo>
                      <a:pt x="37" y="0"/>
                    </a:lnTo>
                    <a:lnTo>
                      <a:pt x="49" y="5"/>
                    </a:lnTo>
                    <a:lnTo>
                      <a:pt x="49" y="14"/>
                    </a:lnTo>
                    <a:lnTo>
                      <a:pt x="63" y="19"/>
                    </a:lnTo>
                    <a:lnTo>
                      <a:pt x="81" y="24"/>
                    </a:lnTo>
                    <a:lnTo>
                      <a:pt x="83" y="14"/>
                    </a:lnTo>
                    <a:lnTo>
                      <a:pt x="92" y="11"/>
                    </a:lnTo>
                    <a:lnTo>
                      <a:pt x="102" y="6"/>
                    </a:lnTo>
                    <a:lnTo>
                      <a:pt x="107" y="14"/>
                    </a:lnTo>
                    <a:lnTo>
                      <a:pt x="114" y="20"/>
                    </a:lnTo>
                    <a:lnTo>
                      <a:pt x="111" y="28"/>
                    </a:lnTo>
                    <a:lnTo>
                      <a:pt x="122" y="31"/>
                    </a:lnTo>
                    <a:lnTo>
                      <a:pt x="129" y="31"/>
                    </a:lnTo>
                    <a:lnTo>
                      <a:pt x="137" y="34"/>
                    </a:lnTo>
                    <a:lnTo>
                      <a:pt x="133" y="46"/>
                    </a:lnTo>
                    <a:lnTo>
                      <a:pt x="167" y="72"/>
                    </a:lnTo>
                    <a:lnTo>
                      <a:pt x="175" y="68"/>
                    </a:lnTo>
                    <a:lnTo>
                      <a:pt x="183" y="71"/>
                    </a:lnTo>
                    <a:lnTo>
                      <a:pt x="181" y="8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01" name="Freeform 238">
                <a:extLst>
                  <a:ext uri="{FF2B5EF4-FFF2-40B4-BE49-F238E27FC236}">
                    <a16:creationId xmlns:a16="http://schemas.microsoft.com/office/drawing/2014/main" id="{4C790DA7-F181-46DD-B827-7EE202C0E8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9" y="2242"/>
                <a:ext cx="130" cy="85"/>
              </a:xfrm>
              <a:custGeom>
                <a:avLst/>
                <a:gdLst>
                  <a:gd name="T0" fmla="*/ 35 w 117"/>
                  <a:gd name="T1" fmla="*/ 9 h 76"/>
                  <a:gd name="T2" fmla="*/ 27 w 117"/>
                  <a:gd name="T3" fmla="*/ 25 h 76"/>
                  <a:gd name="T4" fmla="*/ 15 w 117"/>
                  <a:gd name="T5" fmla="*/ 40 h 76"/>
                  <a:gd name="T6" fmla="*/ 0 w 117"/>
                  <a:gd name="T7" fmla="*/ 69 h 76"/>
                  <a:gd name="T8" fmla="*/ 9 w 117"/>
                  <a:gd name="T9" fmla="*/ 64 h 76"/>
                  <a:gd name="T10" fmla="*/ 31 w 117"/>
                  <a:gd name="T11" fmla="*/ 59 h 76"/>
                  <a:gd name="T12" fmla="*/ 37 w 117"/>
                  <a:gd name="T13" fmla="*/ 46 h 76"/>
                  <a:gd name="T14" fmla="*/ 45 w 117"/>
                  <a:gd name="T15" fmla="*/ 48 h 76"/>
                  <a:gd name="T16" fmla="*/ 52 w 117"/>
                  <a:gd name="T17" fmla="*/ 67 h 76"/>
                  <a:gd name="T18" fmla="*/ 68 w 117"/>
                  <a:gd name="T19" fmla="*/ 73 h 76"/>
                  <a:gd name="T20" fmla="*/ 98 w 117"/>
                  <a:gd name="T21" fmla="*/ 75 h 76"/>
                  <a:gd name="T22" fmla="*/ 98 w 117"/>
                  <a:gd name="T23" fmla="*/ 62 h 76"/>
                  <a:gd name="T24" fmla="*/ 97 w 117"/>
                  <a:gd name="T25" fmla="*/ 64 h 76"/>
                  <a:gd name="T26" fmla="*/ 81 w 117"/>
                  <a:gd name="T27" fmla="*/ 53 h 76"/>
                  <a:gd name="T28" fmla="*/ 83 w 117"/>
                  <a:gd name="T29" fmla="*/ 31 h 76"/>
                  <a:gd name="T30" fmla="*/ 95 w 117"/>
                  <a:gd name="T31" fmla="*/ 23 h 76"/>
                  <a:gd name="T32" fmla="*/ 116 w 117"/>
                  <a:gd name="T33" fmla="*/ 36 h 76"/>
                  <a:gd name="T34" fmla="*/ 102 w 117"/>
                  <a:gd name="T35" fmla="*/ 0 h 76"/>
                  <a:gd name="T36" fmla="*/ 86 w 117"/>
                  <a:gd name="T37" fmla="*/ 13 h 76"/>
                  <a:gd name="T38" fmla="*/ 71 w 117"/>
                  <a:gd name="T39" fmla="*/ 14 h 76"/>
                  <a:gd name="T40" fmla="*/ 35 w 117"/>
                  <a:gd name="T41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7" h="76">
                    <a:moveTo>
                      <a:pt x="35" y="9"/>
                    </a:moveTo>
                    <a:lnTo>
                      <a:pt x="27" y="25"/>
                    </a:lnTo>
                    <a:lnTo>
                      <a:pt x="15" y="40"/>
                    </a:lnTo>
                    <a:lnTo>
                      <a:pt x="0" y="69"/>
                    </a:lnTo>
                    <a:lnTo>
                      <a:pt x="9" y="64"/>
                    </a:lnTo>
                    <a:lnTo>
                      <a:pt x="31" y="59"/>
                    </a:lnTo>
                    <a:lnTo>
                      <a:pt x="37" y="46"/>
                    </a:lnTo>
                    <a:lnTo>
                      <a:pt x="45" y="48"/>
                    </a:lnTo>
                    <a:lnTo>
                      <a:pt x="52" y="67"/>
                    </a:lnTo>
                    <a:lnTo>
                      <a:pt x="68" y="73"/>
                    </a:lnTo>
                    <a:lnTo>
                      <a:pt x="98" y="75"/>
                    </a:lnTo>
                    <a:lnTo>
                      <a:pt x="98" y="62"/>
                    </a:lnTo>
                    <a:lnTo>
                      <a:pt x="97" y="64"/>
                    </a:lnTo>
                    <a:lnTo>
                      <a:pt x="81" y="53"/>
                    </a:lnTo>
                    <a:lnTo>
                      <a:pt x="83" y="31"/>
                    </a:lnTo>
                    <a:lnTo>
                      <a:pt x="95" y="23"/>
                    </a:lnTo>
                    <a:lnTo>
                      <a:pt x="116" y="36"/>
                    </a:lnTo>
                    <a:lnTo>
                      <a:pt x="102" y="0"/>
                    </a:lnTo>
                    <a:lnTo>
                      <a:pt x="86" y="13"/>
                    </a:lnTo>
                    <a:lnTo>
                      <a:pt x="71" y="14"/>
                    </a:lnTo>
                    <a:lnTo>
                      <a:pt x="35" y="9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02" name="Freeform 239">
                <a:extLst>
                  <a:ext uri="{FF2B5EF4-FFF2-40B4-BE49-F238E27FC236}">
                    <a16:creationId xmlns:a16="http://schemas.microsoft.com/office/drawing/2014/main" id="{EA172828-BA7E-4DF8-901A-B81B68193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9" y="2186"/>
                <a:ext cx="85" cy="97"/>
              </a:xfrm>
              <a:custGeom>
                <a:avLst/>
                <a:gdLst>
                  <a:gd name="T0" fmla="*/ 0 w 76"/>
                  <a:gd name="T1" fmla="*/ 8 h 87"/>
                  <a:gd name="T2" fmla="*/ 5 w 76"/>
                  <a:gd name="T3" fmla="*/ 29 h 87"/>
                  <a:gd name="T4" fmla="*/ 16 w 76"/>
                  <a:gd name="T5" fmla="*/ 51 h 87"/>
                  <a:gd name="T6" fmla="*/ 29 w 76"/>
                  <a:gd name="T7" fmla="*/ 77 h 87"/>
                  <a:gd name="T8" fmla="*/ 18 w 76"/>
                  <a:gd name="T9" fmla="*/ 84 h 87"/>
                  <a:gd name="T10" fmla="*/ 37 w 76"/>
                  <a:gd name="T11" fmla="*/ 84 h 87"/>
                  <a:gd name="T12" fmla="*/ 40 w 76"/>
                  <a:gd name="T13" fmla="*/ 73 h 87"/>
                  <a:gd name="T14" fmla="*/ 49 w 76"/>
                  <a:gd name="T15" fmla="*/ 67 h 87"/>
                  <a:gd name="T16" fmla="*/ 55 w 76"/>
                  <a:gd name="T17" fmla="*/ 86 h 87"/>
                  <a:gd name="T18" fmla="*/ 62 w 76"/>
                  <a:gd name="T19" fmla="*/ 79 h 87"/>
                  <a:gd name="T20" fmla="*/ 66 w 76"/>
                  <a:gd name="T21" fmla="*/ 65 h 87"/>
                  <a:gd name="T22" fmla="*/ 75 w 76"/>
                  <a:gd name="T23" fmla="*/ 62 h 87"/>
                  <a:gd name="T24" fmla="*/ 73 w 76"/>
                  <a:gd name="T25" fmla="*/ 52 h 87"/>
                  <a:gd name="T26" fmla="*/ 58 w 76"/>
                  <a:gd name="T27" fmla="*/ 43 h 87"/>
                  <a:gd name="T28" fmla="*/ 44 w 76"/>
                  <a:gd name="T29" fmla="*/ 28 h 87"/>
                  <a:gd name="T30" fmla="*/ 29 w 76"/>
                  <a:gd name="T31" fmla="*/ 0 h 87"/>
                  <a:gd name="T32" fmla="*/ 0 w 76"/>
                  <a:gd name="T33" fmla="*/ 8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6" h="87">
                    <a:moveTo>
                      <a:pt x="0" y="8"/>
                    </a:moveTo>
                    <a:lnTo>
                      <a:pt x="5" y="29"/>
                    </a:lnTo>
                    <a:lnTo>
                      <a:pt x="16" y="51"/>
                    </a:lnTo>
                    <a:lnTo>
                      <a:pt x="29" y="77"/>
                    </a:lnTo>
                    <a:lnTo>
                      <a:pt x="18" y="84"/>
                    </a:lnTo>
                    <a:lnTo>
                      <a:pt x="37" y="84"/>
                    </a:lnTo>
                    <a:lnTo>
                      <a:pt x="40" y="73"/>
                    </a:lnTo>
                    <a:lnTo>
                      <a:pt x="49" y="67"/>
                    </a:lnTo>
                    <a:lnTo>
                      <a:pt x="55" y="86"/>
                    </a:lnTo>
                    <a:lnTo>
                      <a:pt x="62" y="79"/>
                    </a:lnTo>
                    <a:lnTo>
                      <a:pt x="66" y="65"/>
                    </a:lnTo>
                    <a:lnTo>
                      <a:pt x="75" y="62"/>
                    </a:lnTo>
                    <a:lnTo>
                      <a:pt x="73" y="52"/>
                    </a:lnTo>
                    <a:lnTo>
                      <a:pt x="58" y="43"/>
                    </a:lnTo>
                    <a:lnTo>
                      <a:pt x="44" y="28"/>
                    </a:lnTo>
                    <a:lnTo>
                      <a:pt x="29" y="0"/>
                    </a:lnTo>
                    <a:lnTo>
                      <a:pt x="0" y="8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03" name="Freeform 240">
                <a:extLst>
                  <a:ext uri="{FF2B5EF4-FFF2-40B4-BE49-F238E27FC236}">
                    <a16:creationId xmlns:a16="http://schemas.microsoft.com/office/drawing/2014/main" id="{25A1A06C-7EBA-4EC9-A263-FD7C06EC98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6" y="2075"/>
                <a:ext cx="101" cy="56"/>
              </a:xfrm>
              <a:custGeom>
                <a:avLst/>
                <a:gdLst>
                  <a:gd name="T0" fmla="*/ 88 w 89"/>
                  <a:gd name="T1" fmla="*/ 13 h 50"/>
                  <a:gd name="T2" fmla="*/ 76 w 89"/>
                  <a:gd name="T3" fmla="*/ 3 h 50"/>
                  <a:gd name="T4" fmla="*/ 69 w 89"/>
                  <a:gd name="T5" fmla="*/ 0 h 50"/>
                  <a:gd name="T6" fmla="*/ 46 w 89"/>
                  <a:gd name="T7" fmla="*/ 5 h 50"/>
                  <a:gd name="T8" fmla="*/ 30 w 89"/>
                  <a:gd name="T9" fmla="*/ 5 h 50"/>
                  <a:gd name="T10" fmla="*/ 9 w 89"/>
                  <a:gd name="T11" fmla="*/ 2 h 50"/>
                  <a:gd name="T12" fmla="*/ 11 w 89"/>
                  <a:gd name="T13" fmla="*/ 16 h 50"/>
                  <a:gd name="T14" fmla="*/ 5 w 89"/>
                  <a:gd name="T15" fmla="*/ 25 h 50"/>
                  <a:gd name="T16" fmla="*/ 5 w 89"/>
                  <a:gd name="T17" fmla="*/ 29 h 50"/>
                  <a:gd name="T18" fmla="*/ 0 w 89"/>
                  <a:gd name="T19" fmla="*/ 35 h 50"/>
                  <a:gd name="T20" fmla="*/ 6 w 89"/>
                  <a:gd name="T21" fmla="*/ 37 h 50"/>
                  <a:gd name="T22" fmla="*/ 21 w 89"/>
                  <a:gd name="T23" fmla="*/ 46 h 50"/>
                  <a:gd name="T24" fmla="*/ 38 w 89"/>
                  <a:gd name="T25" fmla="*/ 49 h 50"/>
                  <a:gd name="T26" fmla="*/ 47 w 89"/>
                  <a:gd name="T27" fmla="*/ 41 h 50"/>
                  <a:gd name="T28" fmla="*/ 58 w 89"/>
                  <a:gd name="T29" fmla="*/ 42 h 50"/>
                  <a:gd name="T30" fmla="*/ 71 w 89"/>
                  <a:gd name="T31" fmla="*/ 38 h 50"/>
                  <a:gd name="T32" fmla="*/ 82 w 89"/>
                  <a:gd name="T33" fmla="*/ 22 h 50"/>
                  <a:gd name="T34" fmla="*/ 88 w 89"/>
                  <a:gd name="T35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9" h="50">
                    <a:moveTo>
                      <a:pt x="88" y="13"/>
                    </a:moveTo>
                    <a:lnTo>
                      <a:pt x="76" y="3"/>
                    </a:lnTo>
                    <a:lnTo>
                      <a:pt x="69" y="0"/>
                    </a:lnTo>
                    <a:lnTo>
                      <a:pt x="46" y="5"/>
                    </a:lnTo>
                    <a:lnTo>
                      <a:pt x="30" y="5"/>
                    </a:lnTo>
                    <a:lnTo>
                      <a:pt x="9" y="2"/>
                    </a:lnTo>
                    <a:lnTo>
                      <a:pt x="11" y="16"/>
                    </a:lnTo>
                    <a:lnTo>
                      <a:pt x="5" y="25"/>
                    </a:lnTo>
                    <a:lnTo>
                      <a:pt x="5" y="29"/>
                    </a:lnTo>
                    <a:lnTo>
                      <a:pt x="0" y="35"/>
                    </a:lnTo>
                    <a:lnTo>
                      <a:pt x="6" y="37"/>
                    </a:lnTo>
                    <a:lnTo>
                      <a:pt x="21" y="46"/>
                    </a:lnTo>
                    <a:lnTo>
                      <a:pt x="38" y="49"/>
                    </a:lnTo>
                    <a:lnTo>
                      <a:pt x="47" y="41"/>
                    </a:lnTo>
                    <a:lnTo>
                      <a:pt x="58" y="42"/>
                    </a:lnTo>
                    <a:lnTo>
                      <a:pt x="71" y="38"/>
                    </a:lnTo>
                    <a:lnTo>
                      <a:pt x="82" y="22"/>
                    </a:lnTo>
                    <a:lnTo>
                      <a:pt x="88" y="1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04" name="Freeform 241">
                <a:extLst>
                  <a:ext uri="{FF2B5EF4-FFF2-40B4-BE49-F238E27FC236}">
                    <a16:creationId xmlns:a16="http://schemas.microsoft.com/office/drawing/2014/main" id="{0100621F-B374-44D7-BAFD-426D047DFA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1" y="2007"/>
                <a:ext cx="53" cy="43"/>
              </a:xfrm>
              <a:custGeom>
                <a:avLst/>
                <a:gdLst>
                  <a:gd name="T0" fmla="*/ 2 w 47"/>
                  <a:gd name="T1" fmla="*/ 3 h 38"/>
                  <a:gd name="T2" fmla="*/ 0 w 47"/>
                  <a:gd name="T3" fmla="*/ 11 h 38"/>
                  <a:gd name="T4" fmla="*/ 12 w 47"/>
                  <a:gd name="T5" fmla="*/ 18 h 38"/>
                  <a:gd name="T6" fmla="*/ 18 w 47"/>
                  <a:gd name="T7" fmla="*/ 31 h 38"/>
                  <a:gd name="T8" fmla="*/ 35 w 47"/>
                  <a:gd name="T9" fmla="*/ 37 h 38"/>
                  <a:gd name="T10" fmla="*/ 37 w 47"/>
                  <a:gd name="T11" fmla="*/ 29 h 38"/>
                  <a:gd name="T12" fmla="*/ 46 w 47"/>
                  <a:gd name="T13" fmla="*/ 19 h 38"/>
                  <a:gd name="T14" fmla="*/ 37 w 47"/>
                  <a:gd name="T15" fmla="*/ 15 h 38"/>
                  <a:gd name="T16" fmla="*/ 34 w 47"/>
                  <a:gd name="T17" fmla="*/ 2 h 38"/>
                  <a:gd name="T18" fmla="*/ 25 w 47"/>
                  <a:gd name="T19" fmla="*/ 0 h 38"/>
                  <a:gd name="T20" fmla="*/ 17 w 47"/>
                  <a:gd name="T21" fmla="*/ 3 h 38"/>
                  <a:gd name="T22" fmla="*/ 2 w 47"/>
                  <a:gd name="T23" fmla="*/ 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38">
                    <a:moveTo>
                      <a:pt x="2" y="3"/>
                    </a:moveTo>
                    <a:lnTo>
                      <a:pt x="0" y="11"/>
                    </a:lnTo>
                    <a:lnTo>
                      <a:pt x="12" y="18"/>
                    </a:lnTo>
                    <a:lnTo>
                      <a:pt x="18" y="31"/>
                    </a:lnTo>
                    <a:lnTo>
                      <a:pt x="35" y="37"/>
                    </a:lnTo>
                    <a:lnTo>
                      <a:pt x="37" y="29"/>
                    </a:lnTo>
                    <a:lnTo>
                      <a:pt x="46" y="19"/>
                    </a:lnTo>
                    <a:lnTo>
                      <a:pt x="37" y="15"/>
                    </a:lnTo>
                    <a:lnTo>
                      <a:pt x="34" y="2"/>
                    </a:lnTo>
                    <a:lnTo>
                      <a:pt x="25" y="0"/>
                    </a:lnTo>
                    <a:lnTo>
                      <a:pt x="17" y="3"/>
                    </a:lnTo>
                    <a:lnTo>
                      <a:pt x="2" y="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05" name="Freeform 242">
                <a:extLst>
                  <a:ext uri="{FF2B5EF4-FFF2-40B4-BE49-F238E27FC236}">
                    <a16:creationId xmlns:a16="http://schemas.microsoft.com/office/drawing/2014/main" id="{BEF12A45-3ACC-4C42-BD83-71557E1FD6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7" y="1866"/>
                <a:ext cx="44" cy="70"/>
              </a:xfrm>
              <a:custGeom>
                <a:avLst/>
                <a:gdLst>
                  <a:gd name="T0" fmla="*/ 30 w 39"/>
                  <a:gd name="T1" fmla="*/ 58 h 63"/>
                  <a:gd name="T2" fmla="*/ 14 w 39"/>
                  <a:gd name="T3" fmla="*/ 62 h 63"/>
                  <a:gd name="T4" fmla="*/ 8 w 39"/>
                  <a:gd name="T5" fmla="*/ 48 h 63"/>
                  <a:gd name="T6" fmla="*/ 0 w 39"/>
                  <a:gd name="T7" fmla="*/ 43 h 63"/>
                  <a:gd name="T8" fmla="*/ 0 w 39"/>
                  <a:gd name="T9" fmla="*/ 19 h 63"/>
                  <a:gd name="T10" fmla="*/ 18 w 39"/>
                  <a:gd name="T11" fmla="*/ 17 h 63"/>
                  <a:gd name="T12" fmla="*/ 27 w 39"/>
                  <a:gd name="T13" fmla="*/ 0 h 63"/>
                  <a:gd name="T14" fmla="*/ 38 w 39"/>
                  <a:gd name="T15" fmla="*/ 17 h 63"/>
                  <a:gd name="T16" fmla="*/ 28 w 39"/>
                  <a:gd name="T17" fmla="*/ 42 h 63"/>
                  <a:gd name="T18" fmla="*/ 30 w 39"/>
                  <a:gd name="T19" fmla="*/ 58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" h="63">
                    <a:moveTo>
                      <a:pt x="30" y="58"/>
                    </a:moveTo>
                    <a:lnTo>
                      <a:pt x="14" y="62"/>
                    </a:lnTo>
                    <a:lnTo>
                      <a:pt x="8" y="48"/>
                    </a:lnTo>
                    <a:lnTo>
                      <a:pt x="0" y="43"/>
                    </a:lnTo>
                    <a:lnTo>
                      <a:pt x="0" y="19"/>
                    </a:lnTo>
                    <a:lnTo>
                      <a:pt x="18" y="17"/>
                    </a:lnTo>
                    <a:lnTo>
                      <a:pt x="27" y="0"/>
                    </a:lnTo>
                    <a:lnTo>
                      <a:pt x="38" y="17"/>
                    </a:lnTo>
                    <a:lnTo>
                      <a:pt x="28" y="42"/>
                    </a:lnTo>
                    <a:lnTo>
                      <a:pt x="30" y="58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06" name="Freeform 243">
                <a:extLst>
                  <a:ext uri="{FF2B5EF4-FFF2-40B4-BE49-F238E27FC236}">
                    <a16:creationId xmlns:a16="http://schemas.microsoft.com/office/drawing/2014/main" id="{D6C39372-24CF-43DF-80F6-E813A64CF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2" y="2161"/>
                <a:ext cx="92" cy="69"/>
              </a:xfrm>
              <a:custGeom>
                <a:avLst/>
                <a:gdLst>
                  <a:gd name="T0" fmla="*/ 61 w 82"/>
                  <a:gd name="T1" fmla="*/ 53 h 62"/>
                  <a:gd name="T2" fmla="*/ 48 w 82"/>
                  <a:gd name="T3" fmla="*/ 54 h 62"/>
                  <a:gd name="T4" fmla="*/ 40 w 82"/>
                  <a:gd name="T5" fmla="*/ 54 h 62"/>
                  <a:gd name="T6" fmla="*/ 31 w 82"/>
                  <a:gd name="T7" fmla="*/ 61 h 62"/>
                  <a:gd name="T8" fmla="*/ 18 w 82"/>
                  <a:gd name="T9" fmla="*/ 57 h 62"/>
                  <a:gd name="T10" fmla="*/ 11 w 82"/>
                  <a:gd name="T11" fmla="*/ 57 h 62"/>
                  <a:gd name="T12" fmla="*/ 9 w 82"/>
                  <a:gd name="T13" fmla="*/ 36 h 62"/>
                  <a:gd name="T14" fmla="*/ 1 w 82"/>
                  <a:gd name="T15" fmla="*/ 21 h 62"/>
                  <a:gd name="T16" fmla="*/ 0 w 82"/>
                  <a:gd name="T17" fmla="*/ 13 h 62"/>
                  <a:gd name="T18" fmla="*/ 13 w 82"/>
                  <a:gd name="T19" fmla="*/ 3 h 62"/>
                  <a:gd name="T20" fmla="*/ 17 w 82"/>
                  <a:gd name="T21" fmla="*/ 6 h 62"/>
                  <a:gd name="T22" fmla="*/ 21 w 82"/>
                  <a:gd name="T23" fmla="*/ 0 h 62"/>
                  <a:gd name="T24" fmla="*/ 38 w 82"/>
                  <a:gd name="T25" fmla="*/ 6 h 62"/>
                  <a:gd name="T26" fmla="*/ 42 w 82"/>
                  <a:gd name="T27" fmla="*/ 19 h 62"/>
                  <a:gd name="T28" fmla="*/ 62 w 82"/>
                  <a:gd name="T29" fmla="*/ 16 h 62"/>
                  <a:gd name="T30" fmla="*/ 76 w 82"/>
                  <a:gd name="T31" fmla="*/ 14 h 62"/>
                  <a:gd name="T32" fmla="*/ 81 w 82"/>
                  <a:gd name="T33" fmla="*/ 26 h 62"/>
                  <a:gd name="T34" fmla="*/ 76 w 82"/>
                  <a:gd name="T35" fmla="*/ 36 h 62"/>
                  <a:gd name="T36" fmla="*/ 70 w 82"/>
                  <a:gd name="T37" fmla="*/ 43 h 62"/>
                  <a:gd name="T38" fmla="*/ 75 w 82"/>
                  <a:gd name="T39" fmla="*/ 50 h 62"/>
                  <a:gd name="T40" fmla="*/ 61 w 82"/>
                  <a:gd name="T41" fmla="*/ 5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2" h="62">
                    <a:moveTo>
                      <a:pt x="61" y="53"/>
                    </a:moveTo>
                    <a:lnTo>
                      <a:pt x="48" y="54"/>
                    </a:lnTo>
                    <a:lnTo>
                      <a:pt x="40" y="54"/>
                    </a:lnTo>
                    <a:lnTo>
                      <a:pt x="31" y="61"/>
                    </a:lnTo>
                    <a:lnTo>
                      <a:pt x="18" y="57"/>
                    </a:lnTo>
                    <a:lnTo>
                      <a:pt x="11" y="57"/>
                    </a:lnTo>
                    <a:lnTo>
                      <a:pt x="9" y="36"/>
                    </a:lnTo>
                    <a:lnTo>
                      <a:pt x="1" y="21"/>
                    </a:lnTo>
                    <a:lnTo>
                      <a:pt x="0" y="13"/>
                    </a:lnTo>
                    <a:lnTo>
                      <a:pt x="13" y="3"/>
                    </a:lnTo>
                    <a:lnTo>
                      <a:pt x="17" y="6"/>
                    </a:lnTo>
                    <a:lnTo>
                      <a:pt x="21" y="0"/>
                    </a:lnTo>
                    <a:lnTo>
                      <a:pt x="38" y="6"/>
                    </a:lnTo>
                    <a:lnTo>
                      <a:pt x="42" y="19"/>
                    </a:lnTo>
                    <a:lnTo>
                      <a:pt x="62" y="16"/>
                    </a:lnTo>
                    <a:lnTo>
                      <a:pt x="76" y="14"/>
                    </a:lnTo>
                    <a:lnTo>
                      <a:pt x="81" y="26"/>
                    </a:lnTo>
                    <a:lnTo>
                      <a:pt x="76" y="36"/>
                    </a:lnTo>
                    <a:lnTo>
                      <a:pt x="70" y="43"/>
                    </a:lnTo>
                    <a:lnTo>
                      <a:pt x="75" y="50"/>
                    </a:lnTo>
                    <a:lnTo>
                      <a:pt x="61" y="5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07" name="Freeform 244">
                <a:extLst>
                  <a:ext uri="{FF2B5EF4-FFF2-40B4-BE49-F238E27FC236}">
                    <a16:creationId xmlns:a16="http://schemas.microsoft.com/office/drawing/2014/main" id="{8A5DD3A7-E903-4B4A-B64A-6DED0F46F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4" y="1544"/>
                <a:ext cx="156" cy="271"/>
              </a:xfrm>
              <a:custGeom>
                <a:avLst/>
                <a:gdLst>
                  <a:gd name="T0" fmla="*/ 19 w 139"/>
                  <a:gd name="T1" fmla="*/ 101 h 242"/>
                  <a:gd name="T2" fmla="*/ 29 w 139"/>
                  <a:gd name="T3" fmla="*/ 94 h 242"/>
                  <a:gd name="T4" fmla="*/ 27 w 139"/>
                  <a:gd name="T5" fmla="*/ 63 h 242"/>
                  <a:gd name="T6" fmla="*/ 26 w 139"/>
                  <a:gd name="T7" fmla="*/ 53 h 242"/>
                  <a:gd name="T8" fmla="*/ 15 w 139"/>
                  <a:gd name="T9" fmla="*/ 43 h 242"/>
                  <a:gd name="T10" fmla="*/ 3 w 139"/>
                  <a:gd name="T11" fmla="*/ 30 h 242"/>
                  <a:gd name="T12" fmla="*/ 14 w 139"/>
                  <a:gd name="T13" fmla="*/ 33 h 242"/>
                  <a:gd name="T14" fmla="*/ 27 w 139"/>
                  <a:gd name="T15" fmla="*/ 36 h 242"/>
                  <a:gd name="T16" fmla="*/ 47 w 139"/>
                  <a:gd name="T17" fmla="*/ 33 h 242"/>
                  <a:gd name="T18" fmla="*/ 53 w 139"/>
                  <a:gd name="T19" fmla="*/ 18 h 242"/>
                  <a:gd name="T20" fmla="*/ 63 w 139"/>
                  <a:gd name="T21" fmla="*/ 7 h 242"/>
                  <a:gd name="T22" fmla="*/ 70 w 139"/>
                  <a:gd name="T23" fmla="*/ 0 h 242"/>
                  <a:gd name="T24" fmla="*/ 82 w 139"/>
                  <a:gd name="T25" fmla="*/ 2 h 242"/>
                  <a:gd name="T26" fmla="*/ 93 w 139"/>
                  <a:gd name="T27" fmla="*/ 12 h 242"/>
                  <a:gd name="T28" fmla="*/ 85 w 139"/>
                  <a:gd name="T29" fmla="*/ 36 h 242"/>
                  <a:gd name="T30" fmla="*/ 100 w 139"/>
                  <a:gd name="T31" fmla="*/ 50 h 242"/>
                  <a:gd name="T32" fmla="*/ 100 w 139"/>
                  <a:gd name="T33" fmla="*/ 65 h 242"/>
                  <a:gd name="T34" fmla="*/ 105 w 139"/>
                  <a:gd name="T35" fmla="*/ 85 h 242"/>
                  <a:gd name="T36" fmla="*/ 107 w 139"/>
                  <a:gd name="T37" fmla="*/ 109 h 242"/>
                  <a:gd name="T38" fmla="*/ 113 w 139"/>
                  <a:gd name="T39" fmla="*/ 129 h 242"/>
                  <a:gd name="T40" fmla="*/ 120 w 139"/>
                  <a:gd name="T41" fmla="*/ 151 h 242"/>
                  <a:gd name="T42" fmla="*/ 128 w 139"/>
                  <a:gd name="T43" fmla="*/ 161 h 242"/>
                  <a:gd name="T44" fmla="*/ 138 w 139"/>
                  <a:gd name="T45" fmla="*/ 169 h 242"/>
                  <a:gd name="T46" fmla="*/ 127 w 139"/>
                  <a:gd name="T47" fmla="*/ 178 h 242"/>
                  <a:gd name="T48" fmla="*/ 112 w 139"/>
                  <a:gd name="T49" fmla="*/ 194 h 242"/>
                  <a:gd name="T50" fmla="*/ 98 w 139"/>
                  <a:gd name="T51" fmla="*/ 211 h 242"/>
                  <a:gd name="T52" fmla="*/ 94 w 139"/>
                  <a:gd name="T53" fmla="*/ 225 h 242"/>
                  <a:gd name="T54" fmla="*/ 96 w 139"/>
                  <a:gd name="T55" fmla="*/ 241 h 242"/>
                  <a:gd name="T56" fmla="*/ 81 w 139"/>
                  <a:gd name="T57" fmla="*/ 219 h 242"/>
                  <a:gd name="T58" fmla="*/ 63 w 139"/>
                  <a:gd name="T59" fmla="*/ 222 h 242"/>
                  <a:gd name="T60" fmla="*/ 53 w 139"/>
                  <a:gd name="T61" fmla="*/ 231 h 242"/>
                  <a:gd name="T62" fmla="*/ 29 w 139"/>
                  <a:gd name="T63" fmla="*/ 229 h 242"/>
                  <a:gd name="T64" fmla="*/ 11 w 139"/>
                  <a:gd name="T65" fmla="*/ 217 h 242"/>
                  <a:gd name="T66" fmla="*/ 4 w 139"/>
                  <a:gd name="T67" fmla="*/ 200 h 242"/>
                  <a:gd name="T68" fmla="*/ 0 w 139"/>
                  <a:gd name="T69" fmla="*/ 185 h 242"/>
                  <a:gd name="T70" fmla="*/ 3 w 139"/>
                  <a:gd name="T71" fmla="*/ 157 h 242"/>
                  <a:gd name="T72" fmla="*/ 21 w 139"/>
                  <a:gd name="T73" fmla="*/ 150 h 242"/>
                  <a:gd name="T74" fmla="*/ 33 w 139"/>
                  <a:gd name="T75" fmla="*/ 138 h 242"/>
                  <a:gd name="T76" fmla="*/ 37 w 139"/>
                  <a:gd name="T77" fmla="*/ 121 h 242"/>
                  <a:gd name="T78" fmla="*/ 58 w 139"/>
                  <a:gd name="T79" fmla="*/ 123 h 242"/>
                  <a:gd name="T80" fmla="*/ 46 w 139"/>
                  <a:gd name="T81" fmla="*/ 102 h 242"/>
                  <a:gd name="T82" fmla="*/ 19 w 139"/>
                  <a:gd name="T83" fmla="*/ 101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39" h="242">
                    <a:moveTo>
                      <a:pt x="19" y="101"/>
                    </a:moveTo>
                    <a:lnTo>
                      <a:pt x="29" y="94"/>
                    </a:lnTo>
                    <a:lnTo>
                      <a:pt x="27" y="63"/>
                    </a:lnTo>
                    <a:lnTo>
                      <a:pt x="26" y="53"/>
                    </a:lnTo>
                    <a:lnTo>
                      <a:pt x="15" y="43"/>
                    </a:lnTo>
                    <a:lnTo>
                      <a:pt x="3" y="30"/>
                    </a:lnTo>
                    <a:lnTo>
                      <a:pt x="14" y="33"/>
                    </a:lnTo>
                    <a:lnTo>
                      <a:pt x="27" y="36"/>
                    </a:lnTo>
                    <a:lnTo>
                      <a:pt x="47" y="33"/>
                    </a:lnTo>
                    <a:lnTo>
                      <a:pt x="53" y="18"/>
                    </a:lnTo>
                    <a:lnTo>
                      <a:pt x="63" y="7"/>
                    </a:lnTo>
                    <a:lnTo>
                      <a:pt x="70" y="0"/>
                    </a:lnTo>
                    <a:lnTo>
                      <a:pt x="82" y="2"/>
                    </a:lnTo>
                    <a:lnTo>
                      <a:pt x="93" y="12"/>
                    </a:lnTo>
                    <a:lnTo>
                      <a:pt x="85" y="36"/>
                    </a:lnTo>
                    <a:lnTo>
                      <a:pt x="100" y="50"/>
                    </a:lnTo>
                    <a:lnTo>
                      <a:pt x="100" y="65"/>
                    </a:lnTo>
                    <a:lnTo>
                      <a:pt x="105" y="85"/>
                    </a:lnTo>
                    <a:lnTo>
                      <a:pt x="107" y="109"/>
                    </a:lnTo>
                    <a:lnTo>
                      <a:pt x="113" y="129"/>
                    </a:lnTo>
                    <a:lnTo>
                      <a:pt x="120" y="151"/>
                    </a:lnTo>
                    <a:lnTo>
                      <a:pt x="128" y="161"/>
                    </a:lnTo>
                    <a:lnTo>
                      <a:pt x="138" y="169"/>
                    </a:lnTo>
                    <a:lnTo>
                      <a:pt x="127" y="178"/>
                    </a:lnTo>
                    <a:lnTo>
                      <a:pt x="112" y="194"/>
                    </a:lnTo>
                    <a:lnTo>
                      <a:pt x="98" y="211"/>
                    </a:lnTo>
                    <a:lnTo>
                      <a:pt x="94" y="225"/>
                    </a:lnTo>
                    <a:lnTo>
                      <a:pt x="96" y="241"/>
                    </a:lnTo>
                    <a:lnTo>
                      <a:pt x="81" y="219"/>
                    </a:lnTo>
                    <a:lnTo>
                      <a:pt x="63" y="222"/>
                    </a:lnTo>
                    <a:lnTo>
                      <a:pt x="53" y="231"/>
                    </a:lnTo>
                    <a:lnTo>
                      <a:pt x="29" y="229"/>
                    </a:lnTo>
                    <a:lnTo>
                      <a:pt x="11" y="217"/>
                    </a:lnTo>
                    <a:lnTo>
                      <a:pt x="4" y="200"/>
                    </a:lnTo>
                    <a:lnTo>
                      <a:pt x="0" y="185"/>
                    </a:lnTo>
                    <a:lnTo>
                      <a:pt x="3" y="157"/>
                    </a:lnTo>
                    <a:lnTo>
                      <a:pt x="21" y="150"/>
                    </a:lnTo>
                    <a:lnTo>
                      <a:pt x="33" y="138"/>
                    </a:lnTo>
                    <a:lnTo>
                      <a:pt x="37" y="121"/>
                    </a:lnTo>
                    <a:lnTo>
                      <a:pt x="58" y="123"/>
                    </a:lnTo>
                    <a:lnTo>
                      <a:pt x="46" y="102"/>
                    </a:lnTo>
                    <a:lnTo>
                      <a:pt x="19" y="101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08" name="Freeform 245">
                <a:extLst>
                  <a:ext uri="{FF2B5EF4-FFF2-40B4-BE49-F238E27FC236}">
                    <a16:creationId xmlns:a16="http://schemas.microsoft.com/office/drawing/2014/main" id="{32482C33-3758-415F-A592-4177B1BD74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3" y="2058"/>
                <a:ext cx="106" cy="65"/>
              </a:xfrm>
              <a:custGeom>
                <a:avLst/>
                <a:gdLst>
                  <a:gd name="T0" fmla="*/ 3 w 94"/>
                  <a:gd name="T1" fmla="*/ 43 h 57"/>
                  <a:gd name="T2" fmla="*/ 0 w 94"/>
                  <a:gd name="T3" fmla="*/ 34 h 57"/>
                  <a:gd name="T4" fmla="*/ 7 w 94"/>
                  <a:gd name="T5" fmla="*/ 35 h 57"/>
                  <a:gd name="T6" fmla="*/ 11 w 94"/>
                  <a:gd name="T7" fmla="*/ 36 h 57"/>
                  <a:gd name="T8" fmla="*/ 29 w 94"/>
                  <a:gd name="T9" fmla="*/ 28 h 57"/>
                  <a:gd name="T10" fmla="*/ 43 w 94"/>
                  <a:gd name="T11" fmla="*/ 20 h 57"/>
                  <a:gd name="T12" fmla="*/ 47 w 94"/>
                  <a:gd name="T13" fmla="*/ 15 h 57"/>
                  <a:gd name="T14" fmla="*/ 48 w 94"/>
                  <a:gd name="T15" fmla="*/ 0 h 57"/>
                  <a:gd name="T16" fmla="*/ 59 w 94"/>
                  <a:gd name="T17" fmla="*/ 10 h 57"/>
                  <a:gd name="T18" fmla="*/ 69 w 94"/>
                  <a:gd name="T19" fmla="*/ 9 h 57"/>
                  <a:gd name="T20" fmla="*/ 71 w 94"/>
                  <a:gd name="T21" fmla="*/ 1 h 57"/>
                  <a:gd name="T22" fmla="*/ 84 w 94"/>
                  <a:gd name="T23" fmla="*/ 2 h 57"/>
                  <a:gd name="T24" fmla="*/ 83 w 94"/>
                  <a:gd name="T25" fmla="*/ 12 h 57"/>
                  <a:gd name="T26" fmla="*/ 91 w 94"/>
                  <a:gd name="T27" fmla="*/ 16 h 57"/>
                  <a:gd name="T28" fmla="*/ 93 w 94"/>
                  <a:gd name="T29" fmla="*/ 31 h 57"/>
                  <a:gd name="T30" fmla="*/ 87 w 94"/>
                  <a:gd name="T31" fmla="*/ 39 h 57"/>
                  <a:gd name="T32" fmla="*/ 87 w 94"/>
                  <a:gd name="T33" fmla="*/ 43 h 57"/>
                  <a:gd name="T34" fmla="*/ 82 w 94"/>
                  <a:gd name="T35" fmla="*/ 50 h 57"/>
                  <a:gd name="T36" fmla="*/ 69 w 94"/>
                  <a:gd name="T37" fmla="*/ 56 h 57"/>
                  <a:gd name="T38" fmla="*/ 45 w 94"/>
                  <a:gd name="T39" fmla="*/ 50 h 57"/>
                  <a:gd name="T40" fmla="*/ 37 w 94"/>
                  <a:gd name="T41" fmla="*/ 41 h 57"/>
                  <a:gd name="T42" fmla="*/ 24 w 94"/>
                  <a:gd name="T43" fmla="*/ 47 h 57"/>
                  <a:gd name="T44" fmla="*/ 10 w 94"/>
                  <a:gd name="T45" fmla="*/ 47 h 57"/>
                  <a:gd name="T46" fmla="*/ 3 w 94"/>
                  <a:gd name="T47" fmla="*/ 43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4" h="57">
                    <a:moveTo>
                      <a:pt x="3" y="43"/>
                    </a:moveTo>
                    <a:lnTo>
                      <a:pt x="0" y="34"/>
                    </a:lnTo>
                    <a:lnTo>
                      <a:pt x="7" y="35"/>
                    </a:lnTo>
                    <a:lnTo>
                      <a:pt x="11" y="36"/>
                    </a:lnTo>
                    <a:lnTo>
                      <a:pt x="29" y="28"/>
                    </a:lnTo>
                    <a:lnTo>
                      <a:pt x="43" y="20"/>
                    </a:lnTo>
                    <a:lnTo>
                      <a:pt x="47" y="15"/>
                    </a:lnTo>
                    <a:lnTo>
                      <a:pt x="48" y="0"/>
                    </a:lnTo>
                    <a:lnTo>
                      <a:pt x="59" y="10"/>
                    </a:lnTo>
                    <a:lnTo>
                      <a:pt x="69" y="9"/>
                    </a:lnTo>
                    <a:lnTo>
                      <a:pt x="71" y="1"/>
                    </a:lnTo>
                    <a:lnTo>
                      <a:pt x="84" y="2"/>
                    </a:lnTo>
                    <a:lnTo>
                      <a:pt x="83" y="12"/>
                    </a:lnTo>
                    <a:lnTo>
                      <a:pt x="91" y="16"/>
                    </a:lnTo>
                    <a:lnTo>
                      <a:pt x="93" y="31"/>
                    </a:lnTo>
                    <a:lnTo>
                      <a:pt x="87" y="39"/>
                    </a:lnTo>
                    <a:lnTo>
                      <a:pt x="87" y="43"/>
                    </a:lnTo>
                    <a:lnTo>
                      <a:pt x="82" y="50"/>
                    </a:lnTo>
                    <a:lnTo>
                      <a:pt x="69" y="56"/>
                    </a:lnTo>
                    <a:lnTo>
                      <a:pt x="45" y="50"/>
                    </a:lnTo>
                    <a:lnTo>
                      <a:pt x="37" y="41"/>
                    </a:lnTo>
                    <a:lnTo>
                      <a:pt x="24" y="47"/>
                    </a:lnTo>
                    <a:lnTo>
                      <a:pt x="10" y="47"/>
                    </a:lnTo>
                    <a:lnTo>
                      <a:pt x="3" y="4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09" name="Freeform 246">
                <a:extLst>
                  <a:ext uri="{FF2B5EF4-FFF2-40B4-BE49-F238E27FC236}">
                    <a16:creationId xmlns:a16="http://schemas.microsoft.com/office/drawing/2014/main" id="{12D57A56-0368-4088-9975-7F7D5AA98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6" y="2295"/>
                <a:ext cx="36" cy="25"/>
              </a:xfrm>
              <a:custGeom>
                <a:avLst/>
                <a:gdLst>
                  <a:gd name="T0" fmla="*/ 28 w 32"/>
                  <a:gd name="T1" fmla="*/ 0 h 22"/>
                  <a:gd name="T2" fmla="*/ 16 w 32"/>
                  <a:gd name="T3" fmla="*/ 3 h 22"/>
                  <a:gd name="T4" fmla="*/ 0 w 32"/>
                  <a:gd name="T5" fmla="*/ 2 h 22"/>
                  <a:gd name="T6" fmla="*/ 3 w 32"/>
                  <a:gd name="T7" fmla="*/ 6 h 22"/>
                  <a:gd name="T8" fmla="*/ 6 w 32"/>
                  <a:gd name="T9" fmla="*/ 14 h 22"/>
                  <a:gd name="T10" fmla="*/ 14 w 32"/>
                  <a:gd name="T11" fmla="*/ 15 h 22"/>
                  <a:gd name="T12" fmla="*/ 31 w 32"/>
                  <a:gd name="T13" fmla="*/ 21 h 22"/>
                  <a:gd name="T14" fmla="*/ 30 w 32"/>
                  <a:gd name="T15" fmla="*/ 11 h 22"/>
                  <a:gd name="T16" fmla="*/ 28 w 32"/>
                  <a:gd name="T1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22">
                    <a:moveTo>
                      <a:pt x="28" y="0"/>
                    </a:moveTo>
                    <a:lnTo>
                      <a:pt x="16" y="3"/>
                    </a:lnTo>
                    <a:lnTo>
                      <a:pt x="0" y="2"/>
                    </a:lnTo>
                    <a:lnTo>
                      <a:pt x="3" y="6"/>
                    </a:lnTo>
                    <a:lnTo>
                      <a:pt x="6" y="14"/>
                    </a:lnTo>
                    <a:lnTo>
                      <a:pt x="14" y="15"/>
                    </a:lnTo>
                    <a:lnTo>
                      <a:pt x="31" y="21"/>
                    </a:lnTo>
                    <a:lnTo>
                      <a:pt x="30" y="11"/>
                    </a:lnTo>
                    <a:lnTo>
                      <a:pt x="28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10" name="Freeform 247">
                <a:extLst>
                  <a:ext uri="{FF2B5EF4-FFF2-40B4-BE49-F238E27FC236}">
                    <a16:creationId xmlns:a16="http://schemas.microsoft.com/office/drawing/2014/main" id="{17812DFC-7C6D-4A1A-88F7-68007EB54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2" y="1925"/>
                <a:ext cx="66" cy="84"/>
              </a:xfrm>
              <a:custGeom>
                <a:avLst/>
                <a:gdLst>
                  <a:gd name="T0" fmla="*/ 31 w 60"/>
                  <a:gd name="T1" fmla="*/ 0 h 75"/>
                  <a:gd name="T2" fmla="*/ 27 w 60"/>
                  <a:gd name="T3" fmla="*/ 6 h 75"/>
                  <a:gd name="T4" fmla="*/ 27 w 60"/>
                  <a:gd name="T5" fmla="*/ 16 h 75"/>
                  <a:gd name="T6" fmla="*/ 3 w 60"/>
                  <a:gd name="T7" fmla="*/ 19 h 75"/>
                  <a:gd name="T8" fmla="*/ 0 w 60"/>
                  <a:gd name="T9" fmla="*/ 26 h 75"/>
                  <a:gd name="T10" fmla="*/ 0 w 60"/>
                  <a:gd name="T11" fmla="*/ 38 h 75"/>
                  <a:gd name="T12" fmla="*/ 8 w 60"/>
                  <a:gd name="T13" fmla="*/ 40 h 75"/>
                  <a:gd name="T14" fmla="*/ 8 w 60"/>
                  <a:gd name="T15" fmla="*/ 48 h 75"/>
                  <a:gd name="T16" fmla="*/ 0 w 60"/>
                  <a:gd name="T17" fmla="*/ 53 h 75"/>
                  <a:gd name="T18" fmla="*/ 1 w 60"/>
                  <a:gd name="T19" fmla="*/ 66 h 75"/>
                  <a:gd name="T20" fmla="*/ 1 w 60"/>
                  <a:gd name="T21" fmla="*/ 74 h 75"/>
                  <a:gd name="T22" fmla="*/ 17 w 60"/>
                  <a:gd name="T23" fmla="*/ 73 h 75"/>
                  <a:gd name="T24" fmla="*/ 32 w 60"/>
                  <a:gd name="T25" fmla="*/ 63 h 75"/>
                  <a:gd name="T26" fmla="*/ 45 w 60"/>
                  <a:gd name="T27" fmla="*/ 63 h 75"/>
                  <a:gd name="T28" fmla="*/ 56 w 60"/>
                  <a:gd name="T29" fmla="*/ 61 h 75"/>
                  <a:gd name="T30" fmla="*/ 59 w 60"/>
                  <a:gd name="T31" fmla="*/ 40 h 75"/>
                  <a:gd name="T32" fmla="*/ 53 w 60"/>
                  <a:gd name="T33" fmla="*/ 24 h 75"/>
                  <a:gd name="T34" fmla="*/ 38 w 60"/>
                  <a:gd name="T35" fmla="*/ 24 h 75"/>
                  <a:gd name="T36" fmla="*/ 34 w 60"/>
                  <a:gd name="T37" fmla="*/ 15 h 75"/>
                  <a:gd name="T38" fmla="*/ 38 w 60"/>
                  <a:gd name="T39" fmla="*/ 4 h 75"/>
                  <a:gd name="T40" fmla="*/ 31 w 60"/>
                  <a:gd name="T4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0" h="75">
                    <a:moveTo>
                      <a:pt x="31" y="0"/>
                    </a:moveTo>
                    <a:lnTo>
                      <a:pt x="27" y="6"/>
                    </a:lnTo>
                    <a:lnTo>
                      <a:pt x="27" y="16"/>
                    </a:lnTo>
                    <a:lnTo>
                      <a:pt x="3" y="19"/>
                    </a:lnTo>
                    <a:lnTo>
                      <a:pt x="0" y="26"/>
                    </a:lnTo>
                    <a:lnTo>
                      <a:pt x="0" y="38"/>
                    </a:lnTo>
                    <a:lnTo>
                      <a:pt x="8" y="40"/>
                    </a:lnTo>
                    <a:lnTo>
                      <a:pt x="8" y="48"/>
                    </a:lnTo>
                    <a:lnTo>
                      <a:pt x="0" y="53"/>
                    </a:lnTo>
                    <a:lnTo>
                      <a:pt x="1" y="66"/>
                    </a:lnTo>
                    <a:lnTo>
                      <a:pt x="1" y="74"/>
                    </a:lnTo>
                    <a:lnTo>
                      <a:pt x="17" y="73"/>
                    </a:lnTo>
                    <a:lnTo>
                      <a:pt x="32" y="63"/>
                    </a:lnTo>
                    <a:lnTo>
                      <a:pt x="45" y="63"/>
                    </a:lnTo>
                    <a:lnTo>
                      <a:pt x="56" y="61"/>
                    </a:lnTo>
                    <a:lnTo>
                      <a:pt x="59" y="40"/>
                    </a:lnTo>
                    <a:lnTo>
                      <a:pt x="53" y="24"/>
                    </a:lnTo>
                    <a:lnTo>
                      <a:pt x="38" y="24"/>
                    </a:lnTo>
                    <a:lnTo>
                      <a:pt x="34" y="15"/>
                    </a:lnTo>
                    <a:lnTo>
                      <a:pt x="38" y="4"/>
                    </a:lnTo>
                    <a:lnTo>
                      <a:pt x="31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11" name="Freeform 248">
                <a:extLst>
                  <a:ext uri="{FF2B5EF4-FFF2-40B4-BE49-F238E27FC236}">
                    <a16:creationId xmlns:a16="http://schemas.microsoft.com/office/drawing/2014/main" id="{81D2DF78-62C1-4EC7-9C72-633D7CA270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8" y="1922"/>
                <a:ext cx="37" cy="30"/>
              </a:xfrm>
              <a:custGeom>
                <a:avLst/>
                <a:gdLst>
                  <a:gd name="T0" fmla="*/ 19 w 32"/>
                  <a:gd name="T1" fmla="*/ 26 h 27"/>
                  <a:gd name="T2" fmla="*/ 4 w 32"/>
                  <a:gd name="T3" fmla="*/ 26 h 27"/>
                  <a:gd name="T4" fmla="*/ 0 w 32"/>
                  <a:gd name="T5" fmla="*/ 17 h 27"/>
                  <a:gd name="T6" fmla="*/ 4 w 32"/>
                  <a:gd name="T7" fmla="*/ 6 h 27"/>
                  <a:gd name="T8" fmla="*/ 12 w 32"/>
                  <a:gd name="T9" fmla="*/ 0 h 27"/>
                  <a:gd name="T10" fmla="*/ 22 w 32"/>
                  <a:gd name="T11" fmla="*/ 3 h 27"/>
                  <a:gd name="T12" fmla="*/ 28 w 32"/>
                  <a:gd name="T13" fmla="*/ 10 h 27"/>
                  <a:gd name="T14" fmla="*/ 31 w 32"/>
                  <a:gd name="T15" fmla="*/ 19 h 27"/>
                  <a:gd name="T16" fmla="*/ 19 w 32"/>
                  <a:gd name="T17" fmla="*/ 2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27">
                    <a:moveTo>
                      <a:pt x="19" y="26"/>
                    </a:moveTo>
                    <a:lnTo>
                      <a:pt x="4" y="26"/>
                    </a:lnTo>
                    <a:lnTo>
                      <a:pt x="0" y="17"/>
                    </a:lnTo>
                    <a:lnTo>
                      <a:pt x="4" y="6"/>
                    </a:lnTo>
                    <a:lnTo>
                      <a:pt x="12" y="0"/>
                    </a:lnTo>
                    <a:lnTo>
                      <a:pt x="22" y="3"/>
                    </a:lnTo>
                    <a:lnTo>
                      <a:pt x="28" y="10"/>
                    </a:lnTo>
                    <a:lnTo>
                      <a:pt x="31" y="19"/>
                    </a:lnTo>
                    <a:lnTo>
                      <a:pt x="19" y="26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12" name="Freeform 249">
                <a:extLst>
                  <a:ext uri="{FF2B5EF4-FFF2-40B4-BE49-F238E27FC236}">
                    <a16:creationId xmlns:a16="http://schemas.microsoft.com/office/drawing/2014/main" id="{FB9EBB81-4779-4962-BD4A-A8121C6E7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4" y="1843"/>
                <a:ext cx="117" cy="201"/>
              </a:xfrm>
              <a:custGeom>
                <a:avLst/>
                <a:gdLst>
                  <a:gd name="T0" fmla="*/ 16 w 104"/>
                  <a:gd name="T1" fmla="*/ 2 h 180"/>
                  <a:gd name="T2" fmla="*/ 10 w 104"/>
                  <a:gd name="T3" fmla="*/ 14 h 180"/>
                  <a:gd name="T4" fmla="*/ 0 w 104"/>
                  <a:gd name="T5" fmla="*/ 25 h 180"/>
                  <a:gd name="T6" fmla="*/ 8 w 104"/>
                  <a:gd name="T7" fmla="*/ 29 h 180"/>
                  <a:gd name="T8" fmla="*/ 10 w 104"/>
                  <a:gd name="T9" fmla="*/ 36 h 180"/>
                  <a:gd name="T10" fmla="*/ 10 w 104"/>
                  <a:gd name="T11" fmla="*/ 46 h 180"/>
                  <a:gd name="T12" fmla="*/ 2 w 104"/>
                  <a:gd name="T13" fmla="*/ 51 h 180"/>
                  <a:gd name="T14" fmla="*/ 5 w 104"/>
                  <a:gd name="T15" fmla="*/ 59 h 180"/>
                  <a:gd name="T16" fmla="*/ 14 w 104"/>
                  <a:gd name="T17" fmla="*/ 61 h 180"/>
                  <a:gd name="T18" fmla="*/ 16 w 104"/>
                  <a:gd name="T19" fmla="*/ 69 h 180"/>
                  <a:gd name="T20" fmla="*/ 13 w 104"/>
                  <a:gd name="T21" fmla="*/ 76 h 180"/>
                  <a:gd name="T22" fmla="*/ 36 w 104"/>
                  <a:gd name="T23" fmla="*/ 81 h 180"/>
                  <a:gd name="T24" fmla="*/ 41 w 104"/>
                  <a:gd name="T25" fmla="*/ 89 h 180"/>
                  <a:gd name="T26" fmla="*/ 48 w 104"/>
                  <a:gd name="T27" fmla="*/ 92 h 180"/>
                  <a:gd name="T28" fmla="*/ 46 w 104"/>
                  <a:gd name="T29" fmla="*/ 99 h 180"/>
                  <a:gd name="T30" fmla="*/ 34 w 104"/>
                  <a:gd name="T31" fmla="*/ 107 h 180"/>
                  <a:gd name="T32" fmla="*/ 24 w 104"/>
                  <a:gd name="T33" fmla="*/ 107 h 180"/>
                  <a:gd name="T34" fmla="*/ 22 w 104"/>
                  <a:gd name="T35" fmla="*/ 118 h 180"/>
                  <a:gd name="T36" fmla="*/ 26 w 104"/>
                  <a:gd name="T37" fmla="*/ 124 h 180"/>
                  <a:gd name="T38" fmla="*/ 24 w 104"/>
                  <a:gd name="T39" fmla="*/ 135 h 180"/>
                  <a:gd name="T40" fmla="*/ 16 w 104"/>
                  <a:gd name="T41" fmla="*/ 139 h 180"/>
                  <a:gd name="T42" fmla="*/ 39 w 104"/>
                  <a:gd name="T43" fmla="*/ 144 h 180"/>
                  <a:gd name="T44" fmla="*/ 37 w 104"/>
                  <a:gd name="T45" fmla="*/ 148 h 180"/>
                  <a:gd name="T46" fmla="*/ 29 w 104"/>
                  <a:gd name="T47" fmla="*/ 149 h 180"/>
                  <a:gd name="T48" fmla="*/ 19 w 104"/>
                  <a:gd name="T49" fmla="*/ 159 h 180"/>
                  <a:gd name="T50" fmla="*/ 11 w 104"/>
                  <a:gd name="T51" fmla="*/ 170 h 180"/>
                  <a:gd name="T52" fmla="*/ 10 w 104"/>
                  <a:gd name="T53" fmla="*/ 179 h 180"/>
                  <a:gd name="T54" fmla="*/ 31 w 104"/>
                  <a:gd name="T55" fmla="*/ 171 h 180"/>
                  <a:gd name="T56" fmla="*/ 45 w 104"/>
                  <a:gd name="T57" fmla="*/ 164 h 180"/>
                  <a:gd name="T58" fmla="*/ 63 w 104"/>
                  <a:gd name="T59" fmla="*/ 168 h 180"/>
                  <a:gd name="T60" fmla="*/ 79 w 104"/>
                  <a:gd name="T61" fmla="*/ 158 h 180"/>
                  <a:gd name="T62" fmla="*/ 97 w 104"/>
                  <a:gd name="T63" fmla="*/ 154 h 180"/>
                  <a:gd name="T64" fmla="*/ 86 w 104"/>
                  <a:gd name="T65" fmla="*/ 144 h 180"/>
                  <a:gd name="T66" fmla="*/ 92 w 104"/>
                  <a:gd name="T67" fmla="*/ 139 h 180"/>
                  <a:gd name="T68" fmla="*/ 102 w 104"/>
                  <a:gd name="T69" fmla="*/ 141 h 180"/>
                  <a:gd name="T70" fmla="*/ 103 w 104"/>
                  <a:gd name="T71" fmla="*/ 118 h 180"/>
                  <a:gd name="T72" fmla="*/ 84 w 104"/>
                  <a:gd name="T73" fmla="*/ 112 h 180"/>
                  <a:gd name="T74" fmla="*/ 84 w 104"/>
                  <a:gd name="T75" fmla="*/ 97 h 180"/>
                  <a:gd name="T76" fmla="*/ 81 w 104"/>
                  <a:gd name="T77" fmla="*/ 88 h 180"/>
                  <a:gd name="T78" fmla="*/ 71 w 104"/>
                  <a:gd name="T79" fmla="*/ 84 h 180"/>
                  <a:gd name="T80" fmla="*/ 73 w 104"/>
                  <a:gd name="T81" fmla="*/ 72 h 180"/>
                  <a:gd name="T82" fmla="*/ 63 w 104"/>
                  <a:gd name="T83" fmla="*/ 69 h 180"/>
                  <a:gd name="T84" fmla="*/ 66 w 104"/>
                  <a:gd name="T85" fmla="*/ 52 h 180"/>
                  <a:gd name="T86" fmla="*/ 42 w 104"/>
                  <a:gd name="T87" fmla="*/ 35 h 180"/>
                  <a:gd name="T88" fmla="*/ 55 w 104"/>
                  <a:gd name="T89" fmla="*/ 31 h 180"/>
                  <a:gd name="T90" fmla="*/ 56 w 104"/>
                  <a:gd name="T91" fmla="*/ 15 h 180"/>
                  <a:gd name="T92" fmla="*/ 34 w 104"/>
                  <a:gd name="T93" fmla="*/ 15 h 180"/>
                  <a:gd name="T94" fmla="*/ 34 w 104"/>
                  <a:gd name="T95" fmla="*/ 0 h 180"/>
                  <a:gd name="T96" fmla="*/ 16 w 104"/>
                  <a:gd name="T97" fmla="*/ 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4" h="180">
                    <a:moveTo>
                      <a:pt x="16" y="2"/>
                    </a:moveTo>
                    <a:lnTo>
                      <a:pt x="10" y="14"/>
                    </a:lnTo>
                    <a:lnTo>
                      <a:pt x="0" y="25"/>
                    </a:lnTo>
                    <a:lnTo>
                      <a:pt x="8" y="29"/>
                    </a:lnTo>
                    <a:lnTo>
                      <a:pt x="10" y="36"/>
                    </a:lnTo>
                    <a:lnTo>
                      <a:pt x="10" y="46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4" y="61"/>
                    </a:lnTo>
                    <a:lnTo>
                      <a:pt x="16" y="69"/>
                    </a:lnTo>
                    <a:lnTo>
                      <a:pt x="13" y="76"/>
                    </a:lnTo>
                    <a:lnTo>
                      <a:pt x="36" y="81"/>
                    </a:lnTo>
                    <a:lnTo>
                      <a:pt x="41" y="89"/>
                    </a:lnTo>
                    <a:lnTo>
                      <a:pt x="48" y="92"/>
                    </a:lnTo>
                    <a:lnTo>
                      <a:pt x="46" y="99"/>
                    </a:lnTo>
                    <a:lnTo>
                      <a:pt x="34" y="107"/>
                    </a:lnTo>
                    <a:lnTo>
                      <a:pt x="24" y="107"/>
                    </a:lnTo>
                    <a:lnTo>
                      <a:pt x="22" y="118"/>
                    </a:lnTo>
                    <a:lnTo>
                      <a:pt x="26" y="124"/>
                    </a:lnTo>
                    <a:lnTo>
                      <a:pt x="24" y="135"/>
                    </a:lnTo>
                    <a:lnTo>
                      <a:pt x="16" y="139"/>
                    </a:lnTo>
                    <a:lnTo>
                      <a:pt x="39" y="144"/>
                    </a:lnTo>
                    <a:lnTo>
                      <a:pt x="37" y="148"/>
                    </a:lnTo>
                    <a:lnTo>
                      <a:pt x="29" y="149"/>
                    </a:lnTo>
                    <a:lnTo>
                      <a:pt x="19" y="159"/>
                    </a:lnTo>
                    <a:lnTo>
                      <a:pt x="11" y="170"/>
                    </a:lnTo>
                    <a:lnTo>
                      <a:pt x="10" y="179"/>
                    </a:lnTo>
                    <a:lnTo>
                      <a:pt x="31" y="171"/>
                    </a:lnTo>
                    <a:lnTo>
                      <a:pt x="45" y="164"/>
                    </a:lnTo>
                    <a:lnTo>
                      <a:pt x="63" y="168"/>
                    </a:lnTo>
                    <a:lnTo>
                      <a:pt x="79" y="158"/>
                    </a:lnTo>
                    <a:lnTo>
                      <a:pt x="97" y="154"/>
                    </a:lnTo>
                    <a:lnTo>
                      <a:pt x="86" y="144"/>
                    </a:lnTo>
                    <a:lnTo>
                      <a:pt x="92" y="139"/>
                    </a:lnTo>
                    <a:lnTo>
                      <a:pt x="102" y="141"/>
                    </a:lnTo>
                    <a:lnTo>
                      <a:pt x="103" y="118"/>
                    </a:lnTo>
                    <a:lnTo>
                      <a:pt x="84" y="112"/>
                    </a:lnTo>
                    <a:lnTo>
                      <a:pt x="84" y="97"/>
                    </a:lnTo>
                    <a:lnTo>
                      <a:pt x="81" y="88"/>
                    </a:lnTo>
                    <a:lnTo>
                      <a:pt x="71" y="84"/>
                    </a:lnTo>
                    <a:lnTo>
                      <a:pt x="73" y="72"/>
                    </a:lnTo>
                    <a:lnTo>
                      <a:pt x="63" y="69"/>
                    </a:lnTo>
                    <a:lnTo>
                      <a:pt x="66" y="52"/>
                    </a:lnTo>
                    <a:lnTo>
                      <a:pt x="42" y="35"/>
                    </a:lnTo>
                    <a:lnTo>
                      <a:pt x="55" y="31"/>
                    </a:lnTo>
                    <a:lnTo>
                      <a:pt x="56" y="15"/>
                    </a:lnTo>
                    <a:lnTo>
                      <a:pt x="34" y="15"/>
                    </a:lnTo>
                    <a:lnTo>
                      <a:pt x="34" y="0"/>
                    </a:lnTo>
                    <a:lnTo>
                      <a:pt x="16" y="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13" name="Freeform 250">
                <a:extLst>
                  <a:ext uri="{FF2B5EF4-FFF2-40B4-BE49-F238E27FC236}">
                    <a16:creationId xmlns:a16="http://schemas.microsoft.com/office/drawing/2014/main" id="{6246F602-8933-4ECD-9EF5-6112D5F6D1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0" y="1791"/>
                <a:ext cx="17" cy="20"/>
              </a:xfrm>
              <a:custGeom>
                <a:avLst/>
                <a:gdLst>
                  <a:gd name="T0" fmla="*/ 11 w 15"/>
                  <a:gd name="T1" fmla="*/ 0 h 19"/>
                  <a:gd name="T2" fmla="*/ 0 w 15"/>
                  <a:gd name="T3" fmla="*/ 9 h 19"/>
                  <a:gd name="T4" fmla="*/ 4 w 15"/>
                  <a:gd name="T5" fmla="*/ 18 h 19"/>
                  <a:gd name="T6" fmla="*/ 14 w 15"/>
                  <a:gd name="T7" fmla="*/ 18 h 19"/>
                  <a:gd name="T8" fmla="*/ 11 w 15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9">
                    <a:moveTo>
                      <a:pt x="11" y="0"/>
                    </a:moveTo>
                    <a:lnTo>
                      <a:pt x="0" y="9"/>
                    </a:lnTo>
                    <a:lnTo>
                      <a:pt x="4" y="18"/>
                    </a:lnTo>
                    <a:lnTo>
                      <a:pt x="14" y="18"/>
                    </a:lnTo>
                    <a:lnTo>
                      <a:pt x="11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14" name="Freeform 251">
                <a:extLst>
                  <a:ext uri="{FF2B5EF4-FFF2-40B4-BE49-F238E27FC236}">
                    <a16:creationId xmlns:a16="http://schemas.microsoft.com/office/drawing/2014/main" id="{DB1F5437-0DDB-40F1-9FF4-166E8DA5FF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7" y="1511"/>
                <a:ext cx="396" cy="343"/>
              </a:xfrm>
              <a:custGeom>
                <a:avLst/>
                <a:gdLst>
                  <a:gd name="T0" fmla="*/ 303 w 352"/>
                  <a:gd name="T1" fmla="*/ 42 h 306"/>
                  <a:gd name="T2" fmla="*/ 280 w 352"/>
                  <a:gd name="T3" fmla="*/ 30 h 306"/>
                  <a:gd name="T4" fmla="*/ 263 w 352"/>
                  <a:gd name="T5" fmla="*/ 48 h 306"/>
                  <a:gd name="T6" fmla="*/ 237 w 352"/>
                  <a:gd name="T7" fmla="*/ 66 h 306"/>
                  <a:gd name="T8" fmla="*/ 213 w 352"/>
                  <a:gd name="T9" fmla="*/ 61 h 306"/>
                  <a:gd name="T10" fmla="*/ 197 w 352"/>
                  <a:gd name="T11" fmla="*/ 78 h 306"/>
                  <a:gd name="T12" fmla="*/ 173 w 352"/>
                  <a:gd name="T13" fmla="*/ 78 h 306"/>
                  <a:gd name="T14" fmla="*/ 158 w 352"/>
                  <a:gd name="T15" fmla="*/ 90 h 306"/>
                  <a:gd name="T16" fmla="*/ 148 w 352"/>
                  <a:gd name="T17" fmla="*/ 100 h 306"/>
                  <a:gd name="T18" fmla="*/ 138 w 352"/>
                  <a:gd name="T19" fmla="*/ 117 h 306"/>
                  <a:gd name="T20" fmla="*/ 124 w 352"/>
                  <a:gd name="T21" fmla="*/ 129 h 306"/>
                  <a:gd name="T22" fmla="*/ 115 w 352"/>
                  <a:gd name="T23" fmla="*/ 151 h 306"/>
                  <a:gd name="T24" fmla="*/ 117 w 352"/>
                  <a:gd name="T25" fmla="*/ 172 h 306"/>
                  <a:gd name="T26" fmla="*/ 96 w 352"/>
                  <a:gd name="T27" fmla="*/ 174 h 306"/>
                  <a:gd name="T28" fmla="*/ 96 w 352"/>
                  <a:gd name="T29" fmla="*/ 210 h 306"/>
                  <a:gd name="T30" fmla="*/ 107 w 352"/>
                  <a:gd name="T31" fmla="*/ 242 h 306"/>
                  <a:gd name="T32" fmla="*/ 96 w 352"/>
                  <a:gd name="T33" fmla="*/ 267 h 306"/>
                  <a:gd name="T34" fmla="*/ 87 w 352"/>
                  <a:gd name="T35" fmla="*/ 295 h 306"/>
                  <a:gd name="T36" fmla="*/ 55 w 352"/>
                  <a:gd name="T37" fmla="*/ 292 h 306"/>
                  <a:gd name="T38" fmla="*/ 33 w 352"/>
                  <a:gd name="T39" fmla="*/ 303 h 306"/>
                  <a:gd name="T40" fmla="*/ 15 w 352"/>
                  <a:gd name="T41" fmla="*/ 287 h 306"/>
                  <a:gd name="T42" fmla="*/ 11 w 352"/>
                  <a:gd name="T43" fmla="*/ 256 h 306"/>
                  <a:gd name="T44" fmla="*/ 0 w 352"/>
                  <a:gd name="T45" fmla="*/ 218 h 306"/>
                  <a:gd name="T46" fmla="*/ 14 w 352"/>
                  <a:gd name="T47" fmla="*/ 205 h 306"/>
                  <a:gd name="T48" fmla="*/ 40 w 352"/>
                  <a:gd name="T49" fmla="*/ 199 h 306"/>
                  <a:gd name="T50" fmla="*/ 60 w 352"/>
                  <a:gd name="T51" fmla="*/ 189 h 306"/>
                  <a:gd name="T52" fmla="*/ 82 w 352"/>
                  <a:gd name="T53" fmla="*/ 165 h 306"/>
                  <a:gd name="T54" fmla="*/ 94 w 352"/>
                  <a:gd name="T55" fmla="*/ 144 h 306"/>
                  <a:gd name="T56" fmla="*/ 102 w 352"/>
                  <a:gd name="T57" fmla="*/ 117 h 306"/>
                  <a:gd name="T58" fmla="*/ 129 w 352"/>
                  <a:gd name="T59" fmla="*/ 87 h 306"/>
                  <a:gd name="T60" fmla="*/ 163 w 352"/>
                  <a:gd name="T61" fmla="*/ 74 h 306"/>
                  <a:gd name="T62" fmla="*/ 195 w 352"/>
                  <a:gd name="T63" fmla="*/ 64 h 306"/>
                  <a:gd name="T64" fmla="*/ 212 w 352"/>
                  <a:gd name="T65" fmla="*/ 46 h 306"/>
                  <a:gd name="T66" fmla="*/ 198 w 352"/>
                  <a:gd name="T67" fmla="*/ 23 h 306"/>
                  <a:gd name="T68" fmla="*/ 218 w 352"/>
                  <a:gd name="T69" fmla="*/ 8 h 306"/>
                  <a:gd name="T70" fmla="*/ 229 w 352"/>
                  <a:gd name="T71" fmla="*/ 25 h 306"/>
                  <a:gd name="T72" fmla="*/ 236 w 352"/>
                  <a:gd name="T73" fmla="*/ 17 h 306"/>
                  <a:gd name="T74" fmla="*/ 248 w 352"/>
                  <a:gd name="T75" fmla="*/ 26 h 306"/>
                  <a:gd name="T76" fmla="*/ 246 w 352"/>
                  <a:gd name="T77" fmla="*/ 10 h 306"/>
                  <a:gd name="T78" fmla="*/ 271 w 352"/>
                  <a:gd name="T79" fmla="*/ 12 h 306"/>
                  <a:gd name="T80" fmla="*/ 282 w 352"/>
                  <a:gd name="T81" fmla="*/ 14 h 306"/>
                  <a:gd name="T82" fmla="*/ 309 w 352"/>
                  <a:gd name="T83" fmla="*/ 5 h 306"/>
                  <a:gd name="T84" fmla="*/ 322 w 352"/>
                  <a:gd name="T85" fmla="*/ 26 h 306"/>
                  <a:gd name="T86" fmla="*/ 333 w 352"/>
                  <a:gd name="T87" fmla="*/ 48 h 306"/>
                  <a:gd name="T88" fmla="*/ 310 w 352"/>
                  <a:gd name="T89" fmla="*/ 80 h 306"/>
                  <a:gd name="T90" fmla="*/ 303 w 352"/>
                  <a:gd name="T91" fmla="*/ 42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52" h="306">
                    <a:moveTo>
                      <a:pt x="295" y="66"/>
                    </a:moveTo>
                    <a:lnTo>
                      <a:pt x="303" y="42"/>
                    </a:lnTo>
                    <a:lnTo>
                      <a:pt x="292" y="32"/>
                    </a:lnTo>
                    <a:lnTo>
                      <a:pt x="280" y="30"/>
                    </a:lnTo>
                    <a:lnTo>
                      <a:pt x="273" y="37"/>
                    </a:lnTo>
                    <a:lnTo>
                      <a:pt x="263" y="48"/>
                    </a:lnTo>
                    <a:lnTo>
                      <a:pt x="258" y="63"/>
                    </a:lnTo>
                    <a:lnTo>
                      <a:pt x="237" y="66"/>
                    </a:lnTo>
                    <a:lnTo>
                      <a:pt x="224" y="63"/>
                    </a:lnTo>
                    <a:lnTo>
                      <a:pt x="213" y="61"/>
                    </a:lnTo>
                    <a:lnTo>
                      <a:pt x="205" y="68"/>
                    </a:lnTo>
                    <a:lnTo>
                      <a:pt x="197" y="78"/>
                    </a:lnTo>
                    <a:lnTo>
                      <a:pt x="184" y="78"/>
                    </a:lnTo>
                    <a:lnTo>
                      <a:pt x="173" y="78"/>
                    </a:lnTo>
                    <a:lnTo>
                      <a:pt x="166" y="85"/>
                    </a:lnTo>
                    <a:lnTo>
                      <a:pt x="158" y="90"/>
                    </a:lnTo>
                    <a:lnTo>
                      <a:pt x="150" y="87"/>
                    </a:lnTo>
                    <a:lnTo>
                      <a:pt x="148" y="100"/>
                    </a:lnTo>
                    <a:lnTo>
                      <a:pt x="140" y="104"/>
                    </a:lnTo>
                    <a:lnTo>
                      <a:pt x="138" y="117"/>
                    </a:lnTo>
                    <a:lnTo>
                      <a:pt x="128" y="117"/>
                    </a:lnTo>
                    <a:lnTo>
                      <a:pt x="124" y="129"/>
                    </a:lnTo>
                    <a:lnTo>
                      <a:pt x="117" y="133"/>
                    </a:lnTo>
                    <a:lnTo>
                      <a:pt x="115" y="151"/>
                    </a:lnTo>
                    <a:lnTo>
                      <a:pt x="108" y="165"/>
                    </a:lnTo>
                    <a:lnTo>
                      <a:pt x="117" y="172"/>
                    </a:lnTo>
                    <a:lnTo>
                      <a:pt x="110" y="177"/>
                    </a:lnTo>
                    <a:lnTo>
                      <a:pt x="96" y="174"/>
                    </a:lnTo>
                    <a:lnTo>
                      <a:pt x="93" y="184"/>
                    </a:lnTo>
                    <a:lnTo>
                      <a:pt x="96" y="210"/>
                    </a:lnTo>
                    <a:lnTo>
                      <a:pt x="99" y="226"/>
                    </a:lnTo>
                    <a:lnTo>
                      <a:pt x="107" y="242"/>
                    </a:lnTo>
                    <a:lnTo>
                      <a:pt x="110" y="259"/>
                    </a:lnTo>
                    <a:lnTo>
                      <a:pt x="96" y="267"/>
                    </a:lnTo>
                    <a:lnTo>
                      <a:pt x="92" y="286"/>
                    </a:lnTo>
                    <a:lnTo>
                      <a:pt x="87" y="295"/>
                    </a:lnTo>
                    <a:lnTo>
                      <a:pt x="76" y="289"/>
                    </a:lnTo>
                    <a:lnTo>
                      <a:pt x="55" y="292"/>
                    </a:lnTo>
                    <a:lnTo>
                      <a:pt x="44" y="300"/>
                    </a:lnTo>
                    <a:lnTo>
                      <a:pt x="33" y="303"/>
                    </a:lnTo>
                    <a:lnTo>
                      <a:pt x="16" y="305"/>
                    </a:lnTo>
                    <a:lnTo>
                      <a:pt x="15" y="287"/>
                    </a:lnTo>
                    <a:lnTo>
                      <a:pt x="8" y="282"/>
                    </a:lnTo>
                    <a:lnTo>
                      <a:pt x="11" y="256"/>
                    </a:lnTo>
                    <a:lnTo>
                      <a:pt x="1" y="255"/>
                    </a:lnTo>
                    <a:lnTo>
                      <a:pt x="0" y="218"/>
                    </a:lnTo>
                    <a:lnTo>
                      <a:pt x="11" y="214"/>
                    </a:lnTo>
                    <a:lnTo>
                      <a:pt x="14" y="205"/>
                    </a:lnTo>
                    <a:lnTo>
                      <a:pt x="27" y="200"/>
                    </a:lnTo>
                    <a:lnTo>
                      <a:pt x="40" y="199"/>
                    </a:lnTo>
                    <a:lnTo>
                      <a:pt x="45" y="191"/>
                    </a:lnTo>
                    <a:lnTo>
                      <a:pt x="60" y="189"/>
                    </a:lnTo>
                    <a:lnTo>
                      <a:pt x="62" y="172"/>
                    </a:lnTo>
                    <a:lnTo>
                      <a:pt x="82" y="165"/>
                    </a:lnTo>
                    <a:lnTo>
                      <a:pt x="84" y="151"/>
                    </a:lnTo>
                    <a:lnTo>
                      <a:pt x="94" y="144"/>
                    </a:lnTo>
                    <a:lnTo>
                      <a:pt x="98" y="131"/>
                    </a:lnTo>
                    <a:lnTo>
                      <a:pt x="102" y="117"/>
                    </a:lnTo>
                    <a:lnTo>
                      <a:pt x="117" y="102"/>
                    </a:lnTo>
                    <a:lnTo>
                      <a:pt x="129" y="87"/>
                    </a:lnTo>
                    <a:lnTo>
                      <a:pt x="144" y="78"/>
                    </a:lnTo>
                    <a:lnTo>
                      <a:pt x="163" y="74"/>
                    </a:lnTo>
                    <a:lnTo>
                      <a:pt x="174" y="68"/>
                    </a:lnTo>
                    <a:lnTo>
                      <a:pt x="195" y="64"/>
                    </a:lnTo>
                    <a:lnTo>
                      <a:pt x="199" y="52"/>
                    </a:lnTo>
                    <a:lnTo>
                      <a:pt x="212" y="46"/>
                    </a:lnTo>
                    <a:lnTo>
                      <a:pt x="208" y="30"/>
                    </a:lnTo>
                    <a:lnTo>
                      <a:pt x="198" y="23"/>
                    </a:lnTo>
                    <a:lnTo>
                      <a:pt x="213" y="19"/>
                    </a:lnTo>
                    <a:lnTo>
                      <a:pt x="218" y="8"/>
                    </a:lnTo>
                    <a:lnTo>
                      <a:pt x="221" y="23"/>
                    </a:lnTo>
                    <a:lnTo>
                      <a:pt x="229" y="25"/>
                    </a:lnTo>
                    <a:lnTo>
                      <a:pt x="229" y="17"/>
                    </a:lnTo>
                    <a:lnTo>
                      <a:pt x="236" y="17"/>
                    </a:lnTo>
                    <a:lnTo>
                      <a:pt x="239" y="23"/>
                    </a:lnTo>
                    <a:lnTo>
                      <a:pt x="248" y="26"/>
                    </a:lnTo>
                    <a:lnTo>
                      <a:pt x="253" y="15"/>
                    </a:lnTo>
                    <a:lnTo>
                      <a:pt x="246" y="10"/>
                    </a:lnTo>
                    <a:lnTo>
                      <a:pt x="258" y="3"/>
                    </a:lnTo>
                    <a:lnTo>
                      <a:pt x="271" y="12"/>
                    </a:lnTo>
                    <a:lnTo>
                      <a:pt x="279" y="0"/>
                    </a:lnTo>
                    <a:lnTo>
                      <a:pt x="282" y="14"/>
                    </a:lnTo>
                    <a:lnTo>
                      <a:pt x="295" y="15"/>
                    </a:lnTo>
                    <a:lnTo>
                      <a:pt x="309" y="5"/>
                    </a:lnTo>
                    <a:lnTo>
                      <a:pt x="325" y="15"/>
                    </a:lnTo>
                    <a:lnTo>
                      <a:pt x="322" y="26"/>
                    </a:lnTo>
                    <a:lnTo>
                      <a:pt x="351" y="36"/>
                    </a:lnTo>
                    <a:lnTo>
                      <a:pt x="333" y="48"/>
                    </a:lnTo>
                    <a:lnTo>
                      <a:pt x="317" y="65"/>
                    </a:lnTo>
                    <a:lnTo>
                      <a:pt x="310" y="80"/>
                    </a:lnTo>
                    <a:lnTo>
                      <a:pt x="295" y="66"/>
                    </a:lnTo>
                    <a:lnTo>
                      <a:pt x="303" y="4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15" name="Freeform 252">
                <a:extLst>
                  <a:ext uri="{FF2B5EF4-FFF2-40B4-BE49-F238E27FC236}">
                    <a16:creationId xmlns:a16="http://schemas.microsoft.com/office/drawing/2014/main" id="{C5DA2C28-169C-4190-9459-57F2168251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9" y="2011"/>
                <a:ext cx="191" cy="198"/>
              </a:xfrm>
              <a:custGeom>
                <a:avLst/>
                <a:gdLst>
                  <a:gd name="T0" fmla="*/ 89 w 170"/>
                  <a:gd name="T1" fmla="*/ 3 h 176"/>
                  <a:gd name="T2" fmla="*/ 85 w 170"/>
                  <a:gd name="T3" fmla="*/ 15 h 176"/>
                  <a:gd name="T4" fmla="*/ 78 w 170"/>
                  <a:gd name="T5" fmla="*/ 21 h 176"/>
                  <a:gd name="T6" fmla="*/ 74 w 170"/>
                  <a:gd name="T7" fmla="*/ 29 h 176"/>
                  <a:gd name="T8" fmla="*/ 63 w 170"/>
                  <a:gd name="T9" fmla="*/ 27 h 176"/>
                  <a:gd name="T10" fmla="*/ 61 w 170"/>
                  <a:gd name="T11" fmla="*/ 36 h 176"/>
                  <a:gd name="T12" fmla="*/ 50 w 170"/>
                  <a:gd name="T13" fmla="*/ 37 h 176"/>
                  <a:gd name="T14" fmla="*/ 42 w 170"/>
                  <a:gd name="T15" fmla="*/ 29 h 176"/>
                  <a:gd name="T16" fmla="*/ 34 w 170"/>
                  <a:gd name="T17" fmla="*/ 31 h 176"/>
                  <a:gd name="T18" fmla="*/ 38 w 170"/>
                  <a:gd name="T19" fmla="*/ 39 h 176"/>
                  <a:gd name="T20" fmla="*/ 36 w 170"/>
                  <a:gd name="T21" fmla="*/ 47 h 176"/>
                  <a:gd name="T22" fmla="*/ 23 w 170"/>
                  <a:gd name="T23" fmla="*/ 48 h 176"/>
                  <a:gd name="T24" fmla="*/ 17 w 170"/>
                  <a:gd name="T25" fmla="*/ 52 h 176"/>
                  <a:gd name="T26" fmla="*/ 15 w 170"/>
                  <a:gd name="T27" fmla="*/ 54 h 176"/>
                  <a:gd name="T28" fmla="*/ 0 w 170"/>
                  <a:gd name="T29" fmla="*/ 56 h 176"/>
                  <a:gd name="T30" fmla="*/ 0 w 170"/>
                  <a:gd name="T31" fmla="*/ 60 h 176"/>
                  <a:gd name="T32" fmla="*/ 0 w 170"/>
                  <a:gd name="T33" fmla="*/ 66 h 176"/>
                  <a:gd name="T34" fmla="*/ 18 w 170"/>
                  <a:gd name="T35" fmla="*/ 75 h 176"/>
                  <a:gd name="T36" fmla="*/ 26 w 170"/>
                  <a:gd name="T37" fmla="*/ 79 h 176"/>
                  <a:gd name="T38" fmla="*/ 34 w 170"/>
                  <a:gd name="T39" fmla="*/ 88 h 176"/>
                  <a:gd name="T40" fmla="*/ 40 w 170"/>
                  <a:gd name="T41" fmla="*/ 102 h 176"/>
                  <a:gd name="T42" fmla="*/ 48 w 170"/>
                  <a:gd name="T43" fmla="*/ 111 h 176"/>
                  <a:gd name="T44" fmla="*/ 40 w 170"/>
                  <a:gd name="T45" fmla="*/ 115 h 176"/>
                  <a:gd name="T46" fmla="*/ 36 w 170"/>
                  <a:gd name="T47" fmla="*/ 150 h 176"/>
                  <a:gd name="T48" fmla="*/ 31 w 170"/>
                  <a:gd name="T49" fmla="*/ 160 h 176"/>
                  <a:gd name="T50" fmla="*/ 50 w 170"/>
                  <a:gd name="T51" fmla="*/ 166 h 176"/>
                  <a:gd name="T52" fmla="*/ 70 w 170"/>
                  <a:gd name="T53" fmla="*/ 167 h 176"/>
                  <a:gd name="T54" fmla="*/ 80 w 170"/>
                  <a:gd name="T55" fmla="*/ 175 h 176"/>
                  <a:gd name="T56" fmla="*/ 108 w 170"/>
                  <a:gd name="T57" fmla="*/ 175 h 176"/>
                  <a:gd name="T58" fmla="*/ 105 w 170"/>
                  <a:gd name="T59" fmla="*/ 164 h 176"/>
                  <a:gd name="T60" fmla="*/ 110 w 170"/>
                  <a:gd name="T61" fmla="*/ 153 h 176"/>
                  <a:gd name="T62" fmla="*/ 122 w 170"/>
                  <a:gd name="T63" fmla="*/ 152 h 176"/>
                  <a:gd name="T64" fmla="*/ 134 w 170"/>
                  <a:gd name="T65" fmla="*/ 152 h 176"/>
                  <a:gd name="T66" fmla="*/ 143 w 170"/>
                  <a:gd name="T67" fmla="*/ 158 h 176"/>
                  <a:gd name="T68" fmla="*/ 154 w 170"/>
                  <a:gd name="T69" fmla="*/ 161 h 176"/>
                  <a:gd name="T70" fmla="*/ 162 w 170"/>
                  <a:gd name="T71" fmla="*/ 148 h 176"/>
                  <a:gd name="T72" fmla="*/ 162 w 170"/>
                  <a:gd name="T73" fmla="*/ 138 h 176"/>
                  <a:gd name="T74" fmla="*/ 151 w 170"/>
                  <a:gd name="T75" fmla="*/ 133 h 176"/>
                  <a:gd name="T76" fmla="*/ 149 w 170"/>
                  <a:gd name="T77" fmla="*/ 119 h 176"/>
                  <a:gd name="T78" fmla="*/ 155 w 170"/>
                  <a:gd name="T79" fmla="*/ 110 h 176"/>
                  <a:gd name="T80" fmla="*/ 155 w 170"/>
                  <a:gd name="T81" fmla="*/ 99 h 176"/>
                  <a:gd name="T82" fmla="*/ 148 w 170"/>
                  <a:gd name="T83" fmla="*/ 93 h 176"/>
                  <a:gd name="T84" fmla="*/ 151 w 170"/>
                  <a:gd name="T85" fmla="*/ 84 h 176"/>
                  <a:gd name="T86" fmla="*/ 157 w 170"/>
                  <a:gd name="T87" fmla="*/ 74 h 176"/>
                  <a:gd name="T88" fmla="*/ 166 w 170"/>
                  <a:gd name="T89" fmla="*/ 73 h 176"/>
                  <a:gd name="T90" fmla="*/ 163 w 170"/>
                  <a:gd name="T91" fmla="*/ 51 h 176"/>
                  <a:gd name="T92" fmla="*/ 169 w 170"/>
                  <a:gd name="T93" fmla="*/ 43 h 176"/>
                  <a:gd name="T94" fmla="*/ 156 w 170"/>
                  <a:gd name="T95" fmla="*/ 32 h 176"/>
                  <a:gd name="T96" fmla="*/ 137 w 170"/>
                  <a:gd name="T97" fmla="*/ 33 h 176"/>
                  <a:gd name="T98" fmla="*/ 119 w 170"/>
                  <a:gd name="T99" fmla="*/ 27 h 176"/>
                  <a:gd name="T100" fmla="*/ 114 w 170"/>
                  <a:gd name="T101" fmla="*/ 14 h 176"/>
                  <a:gd name="T102" fmla="*/ 102 w 170"/>
                  <a:gd name="T103" fmla="*/ 8 h 176"/>
                  <a:gd name="T104" fmla="*/ 103 w 170"/>
                  <a:gd name="T105" fmla="*/ 0 h 176"/>
                  <a:gd name="T106" fmla="*/ 89 w 170"/>
                  <a:gd name="T107" fmla="*/ 3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0" h="176">
                    <a:moveTo>
                      <a:pt x="89" y="3"/>
                    </a:moveTo>
                    <a:lnTo>
                      <a:pt x="85" y="15"/>
                    </a:lnTo>
                    <a:lnTo>
                      <a:pt x="78" y="21"/>
                    </a:lnTo>
                    <a:lnTo>
                      <a:pt x="74" y="29"/>
                    </a:lnTo>
                    <a:lnTo>
                      <a:pt x="63" y="27"/>
                    </a:lnTo>
                    <a:lnTo>
                      <a:pt x="61" y="36"/>
                    </a:lnTo>
                    <a:lnTo>
                      <a:pt x="50" y="37"/>
                    </a:lnTo>
                    <a:lnTo>
                      <a:pt x="42" y="29"/>
                    </a:lnTo>
                    <a:lnTo>
                      <a:pt x="34" y="31"/>
                    </a:lnTo>
                    <a:lnTo>
                      <a:pt x="38" y="39"/>
                    </a:lnTo>
                    <a:lnTo>
                      <a:pt x="36" y="47"/>
                    </a:lnTo>
                    <a:lnTo>
                      <a:pt x="23" y="48"/>
                    </a:lnTo>
                    <a:lnTo>
                      <a:pt x="17" y="52"/>
                    </a:lnTo>
                    <a:lnTo>
                      <a:pt x="15" y="54"/>
                    </a:lnTo>
                    <a:lnTo>
                      <a:pt x="0" y="56"/>
                    </a:lnTo>
                    <a:lnTo>
                      <a:pt x="0" y="60"/>
                    </a:lnTo>
                    <a:lnTo>
                      <a:pt x="0" y="66"/>
                    </a:lnTo>
                    <a:lnTo>
                      <a:pt x="18" y="75"/>
                    </a:lnTo>
                    <a:lnTo>
                      <a:pt x="26" y="79"/>
                    </a:lnTo>
                    <a:lnTo>
                      <a:pt x="34" y="88"/>
                    </a:lnTo>
                    <a:lnTo>
                      <a:pt x="40" y="102"/>
                    </a:lnTo>
                    <a:lnTo>
                      <a:pt x="48" y="111"/>
                    </a:lnTo>
                    <a:lnTo>
                      <a:pt x="40" y="115"/>
                    </a:lnTo>
                    <a:lnTo>
                      <a:pt x="36" y="150"/>
                    </a:lnTo>
                    <a:lnTo>
                      <a:pt x="31" y="160"/>
                    </a:lnTo>
                    <a:lnTo>
                      <a:pt x="50" y="166"/>
                    </a:lnTo>
                    <a:lnTo>
                      <a:pt x="70" y="167"/>
                    </a:lnTo>
                    <a:lnTo>
                      <a:pt x="80" y="175"/>
                    </a:lnTo>
                    <a:lnTo>
                      <a:pt x="108" y="175"/>
                    </a:lnTo>
                    <a:lnTo>
                      <a:pt x="105" y="164"/>
                    </a:lnTo>
                    <a:lnTo>
                      <a:pt x="110" y="153"/>
                    </a:lnTo>
                    <a:lnTo>
                      <a:pt x="122" y="152"/>
                    </a:lnTo>
                    <a:lnTo>
                      <a:pt x="134" y="152"/>
                    </a:lnTo>
                    <a:lnTo>
                      <a:pt x="143" y="158"/>
                    </a:lnTo>
                    <a:lnTo>
                      <a:pt x="154" y="161"/>
                    </a:lnTo>
                    <a:lnTo>
                      <a:pt x="162" y="148"/>
                    </a:lnTo>
                    <a:lnTo>
                      <a:pt x="162" y="138"/>
                    </a:lnTo>
                    <a:lnTo>
                      <a:pt x="151" y="133"/>
                    </a:lnTo>
                    <a:lnTo>
                      <a:pt x="149" y="119"/>
                    </a:lnTo>
                    <a:lnTo>
                      <a:pt x="155" y="110"/>
                    </a:lnTo>
                    <a:lnTo>
                      <a:pt x="155" y="99"/>
                    </a:lnTo>
                    <a:lnTo>
                      <a:pt x="148" y="93"/>
                    </a:lnTo>
                    <a:lnTo>
                      <a:pt x="151" y="84"/>
                    </a:lnTo>
                    <a:lnTo>
                      <a:pt x="157" y="74"/>
                    </a:lnTo>
                    <a:lnTo>
                      <a:pt x="166" y="73"/>
                    </a:lnTo>
                    <a:lnTo>
                      <a:pt x="163" y="51"/>
                    </a:lnTo>
                    <a:lnTo>
                      <a:pt x="169" y="43"/>
                    </a:lnTo>
                    <a:lnTo>
                      <a:pt x="156" y="32"/>
                    </a:lnTo>
                    <a:lnTo>
                      <a:pt x="137" y="33"/>
                    </a:lnTo>
                    <a:lnTo>
                      <a:pt x="119" y="27"/>
                    </a:lnTo>
                    <a:lnTo>
                      <a:pt x="114" y="14"/>
                    </a:lnTo>
                    <a:lnTo>
                      <a:pt x="102" y="8"/>
                    </a:lnTo>
                    <a:lnTo>
                      <a:pt x="103" y="0"/>
                    </a:lnTo>
                    <a:lnTo>
                      <a:pt x="89" y="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16" name="Freeform 253">
                <a:extLst>
                  <a:ext uri="{FF2B5EF4-FFF2-40B4-BE49-F238E27FC236}">
                    <a16:creationId xmlns:a16="http://schemas.microsoft.com/office/drawing/2014/main" id="{0D624A06-AD4A-4B64-B543-DD0E3D77C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5" y="2105"/>
                <a:ext cx="192" cy="190"/>
              </a:xfrm>
              <a:custGeom>
                <a:avLst/>
                <a:gdLst>
                  <a:gd name="T0" fmla="*/ 13 w 172"/>
                  <a:gd name="T1" fmla="*/ 65 h 170"/>
                  <a:gd name="T2" fmla="*/ 13 w 172"/>
                  <a:gd name="T3" fmla="*/ 55 h 170"/>
                  <a:gd name="T4" fmla="*/ 2 w 172"/>
                  <a:gd name="T5" fmla="*/ 50 h 170"/>
                  <a:gd name="T6" fmla="*/ 0 w 172"/>
                  <a:gd name="T7" fmla="*/ 36 h 170"/>
                  <a:gd name="T8" fmla="*/ 6 w 172"/>
                  <a:gd name="T9" fmla="*/ 27 h 170"/>
                  <a:gd name="T10" fmla="*/ 6 w 172"/>
                  <a:gd name="T11" fmla="*/ 16 h 170"/>
                  <a:gd name="T12" fmla="*/ 20 w 172"/>
                  <a:gd name="T13" fmla="*/ 16 h 170"/>
                  <a:gd name="T14" fmla="*/ 25 w 172"/>
                  <a:gd name="T15" fmla="*/ 10 h 170"/>
                  <a:gd name="T16" fmla="*/ 30 w 172"/>
                  <a:gd name="T17" fmla="*/ 17 h 170"/>
                  <a:gd name="T18" fmla="*/ 35 w 172"/>
                  <a:gd name="T19" fmla="*/ 12 h 170"/>
                  <a:gd name="T20" fmla="*/ 41 w 172"/>
                  <a:gd name="T21" fmla="*/ 14 h 170"/>
                  <a:gd name="T22" fmla="*/ 46 w 172"/>
                  <a:gd name="T23" fmla="*/ 3 h 170"/>
                  <a:gd name="T24" fmla="*/ 52 w 172"/>
                  <a:gd name="T25" fmla="*/ 6 h 170"/>
                  <a:gd name="T26" fmla="*/ 67 w 172"/>
                  <a:gd name="T27" fmla="*/ 6 h 170"/>
                  <a:gd name="T28" fmla="*/ 80 w 172"/>
                  <a:gd name="T29" fmla="*/ 0 h 170"/>
                  <a:gd name="T30" fmla="*/ 88 w 172"/>
                  <a:gd name="T31" fmla="*/ 9 h 170"/>
                  <a:gd name="T32" fmla="*/ 91 w 172"/>
                  <a:gd name="T33" fmla="*/ 21 h 170"/>
                  <a:gd name="T34" fmla="*/ 84 w 172"/>
                  <a:gd name="T35" fmla="*/ 27 h 170"/>
                  <a:gd name="T36" fmla="*/ 80 w 172"/>
                  <a:gd name="T37" fmla="*/ 41 h 170"/>
                  <a:gd name="T38" fmla="*/ 80 w 172"/>
                  <a:gd name="T39" fmla="*/ 51 h 170"/>
                  <a:gd name="T40" fmla="*/ 86 w 172"/>
                  <a:gd name="T41" fmla="*/ 54 h 170"/>
                  <a:gd name="T42" fmla="*/ 95 w 172"/>
                  <a:gd name="T43" fmla="*/ 69 h 170"/>
                  <a:gd name="T44" fmla="*/ 106 w 172"/>
                  <a:gd name="T45" fmla="*/ 85 h 170"/>
                  <a:gd name="T46" fmla="*/ 124 w 172"/>
                  <a:gd name="T47" fmla="*/ 101 h 170"/>
                  <a:gd name="T48" fmla="*/ 133 w 172"/>
                  <a:gd name="T49" fmla="*/ 101 h 170"/>
                  <a:gd name="T50" fmla="*/ 140 w 172"/>
                  <a:gd name="T51" fmla="*/ 99 h 170"/>
                  <a:gd name="T52" fmla="*/ 141 w 172"/>
                  <a:gd name="T53" fmla="*/ 106 h 170"/>
                  <a:gd name="T54" fmla="*/ 146 w 172"/>
                  <a:gd name="T55" fmla="*/ 111 h 170"/>
                  <a:gd name="T56" fmla="*/ 149 w 172"/>
                  <a:gd name="T57" fmla="*/ 117 h 170"/>
                  <a:gd name="T58" fmla="*/ 157 w 172"/>
                  <a:gd name="T59" fmla="*/ 123 h 170"/>
                  <a:gd name="T60" fmla="*/ 163 w 172"/>
                  <a:gd name="T61" fmla="*/ 129 h 170"/>
                  <a:gd name="T62" fmla="*/ 171 w 172"/>
                  <a:gd name="T63" fmla="*/ 139 h 170"/>
                  <a:gd name="T64" fmla="*/ 166 w 172"/>
                  <a:gd name="T65" fmla="*/ 143 h 170"/>
                  <a:gd name="T66" fmla="*/ 154 w 172"/>
                  <a:gd name="T67" fmla="*/ 134 h 170"/>
                  <a:gd name="T68" fmla="*/ 145 w 172"/>
                  <a:gd name="T69" fmla="*/ 138 h 170"/>
                  <a:gd name="T70" fmla="*/ 142 w 172"/>
                  <a:gd name="T71" fmla="*/ 144 h 170"/>
                  <a:gd name="T72" fmla="*/ 148 w 172"/>
                  <a:gd name="T73" fmla="*/ 155 h 170"/>
                  <a:gd name="T74" fmla="*/ 142 w 172"/>
                  <a:gd name="T75" fmla="*/ 161 h 170"/>
                  <a:gd name="T76" fmla="*/ 138 w 172"/>
                  <a:gd name="T77" fmla="*/ 169 h 170"/>
                  <a:gd name="T78" fmla="*/ 130 w 172"/>
                  <a:gd name="T79" fmla="*/ 169 h 170"/>
                  <a:gd name="T80" fmla="*/ 131 w 172"/>
                  <a:gd name="T81" fmla="*/ 152 h 170"/>
                  <a:gd name="T82" fmla="*/ 131 w 172"/>
                  <a:gd name="T83" fmla="*/ 144 h 170"/>
                  <a:gd name="T84" fmla="*/ 121 w 172"/>
                  <a:gd name="T85" fmla="*/ 137 h 170"/>
                  <a:gd name="T86" fmla="*/ 116 w 172"/>
                  <a:gd name="T87" fmla="*/ 128 h 170"/>
                  <a:gd name="T88" fmla="*/ 108 w 172"/>
                  <a:gd name="T89" fmla="*/ 126 h 170"/>
                  <a:gd name="T90" fmla="*/ 108 w 172"/>
                  <a:gd name="T91" fmla="*/ 117 h 170"/>
                  <a:gd name="T92" fmla="*/ 87 w 172"/>
                  <a:gd name="T93" fmla="*/ 111 h 170"/>
                  <a:gd name="T94" fmla="*/ 74 w 172"/>
                  <a:gd name="T95" fmla="*/ 99 h 170"/>
                  <a:gd name="T96" fmla="*/ 66 w 172"/>
                  <a:gd name="T97" fmla="*/ 93 h 170"/>
                  <a:gd name="T98" fmla="*/ 58 w 172"/>
                  <a:gd name="T99" fmla="*/ 86 h 170"/>
                  <a:gd name="T100" fmla="*/ 53 w 172"/>
                  <a:gd name="T101" fmla="*/ 69 h 170"/>
                  <a:gd name="T102" fmla="*/ 49 w 172"/>
                  <a:gd name="T103" fmla="*/ 59 h 170"/>
                  <a:gd name="T104" fmla="*/ 32 w 172"/>
                  <a:gd name="T105" fmla="*/ 56 h 170"/>
                  <a:gd name="T106" fmla="*/ 29 w 172"/>
                  <a:gd name="T107" fmla="*/ 64 h 170"/>
                  <a:gd name="T108" fmla="*/ 13 w 172"/>
                  <a:gd name="T109" fmla="*/ 6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170">
                    <a:moveTo>
                      <a:pt x="13" y="65"/>
                    </a:moveTo>
                    <a:lnTo>
                      <a:pt x="13" y="55"/>
                    </a:lnTo>
                    <a:lnTo>
                      <a:pt x="2" y="50"/>
                    </a:lnTo>
                    <a:lnTo>
                      <a:pt x="0" y="36"/>
                    </a:lnTo>
                    <a:lnTo>
                      <a:pt x="6" y="27"/>
                    </a:lnTo>
                    <a:lnTo>
                      <a:pt x="6" y="16"/>
                    </a:lnTo>
                    <a:lnTo>
                      <a:pt x="20" y="16"/>
                    </a:lnTo>
                    <a:lnTo>
                      <a:pt x="25" y="10"/>
                    </a:lnTo>
                    <a:lnTo>
                      <a:pt x="30" y="17"/>
                    </a:lnTo>
                    <a:lnTo>
                      <a:pt x="35" y="12"/>
                    </a:lnTo>
                    <a:lnTo>
                      <a:pt x="41" y="14"/>
                    </a:lnTo>
                    <a:lnTo>
                      <a:pt x="46" y="3"/>
                    </a:lnTo>
                    <a:lnTo>
                      <a:pt x="52" y="6"/>
                    </a:lnTo>
                    <a:lnTo>
                      <a:pt x="67" y="6"/>
                    </a:lnTo>
                    <a:lnTo>
                      <a:pt x="80" y="0"/>
                    </a:lnTo>
                    <a:lnTo>
                      <a:pt x="88" y="9"/>
                    </a:lnTo>
                    <a:lnTo>
                      <a:pt x="91" y="21"/>
                    </a:lnTo>
                    <a:lnTo>
                      <a:pt x="84" y="27"/>
                    </a:lnTo>
                    <a:lnTo>
                      <a:pt x="80" y="41"/>
                    </a:lnTo>
                    <a:lnTo>
                      <a:pt x="80" y="51"/>
                    </a:lnTo>
                    <a:lnTo>
                      <a:pt x="86" y="54"/>
                    </a:lnTo>
                    <a:lnTo>
                      <a:pt x="95" y="69"/>
                    </a:lnTo>
                    <a:lnTo>
                      <a:pt x="106" y="85"/>
                    </a:lnTo>
                    <a:lnTo>
                      <a:pt x="124" y="101"/>
                    </a:lnTo>
                    <a:lnTo>
                      <a:pt x="133" y="101"/>
                    </a:lnTo>
                    <a:lnTo>
                      <a:pt x="140" y="99"/>
                    </a:lnTo>
                    <a:lnTo>
                      <a:pt x="141" y="106"/>
                    </a:lnTo>
                    <a:lnTo>
                      <a:pt x="146" y="111"/>
                    </a:lnTo>
                    <a:lnTo>
                      <a:pt x="149" y="117"/>
                    </a:lnTo>
                    <a:lnTo>
                      <a:pt x="157" y="123"/>
                    </a:lnTo>
                    <a:lnTo>
                      <a:pt x="163" y="129"/>
                    </a:lnTo>
                    <a:lnTo>
                      <a:pt x="171" y="139"/>
                    </a:lnTo>
                    <a:lnTo>
                      <a:pt x="166" y="143"/>
                    </a:lnTo>
                    <a:lnTo>
                      <a:pt x="154" y="134"/>
                    </a:lnTo>
                    <a:lnTo>
                      <a:pt x="145" y="138"/>
                    </a:lnTo>
                    <a:lnTo>
                      <a:pt x="142" y="144"/>
                    </a:lnTo>
                    <a:lnTo>
                      <a:pt x="148" y="155"/>
                    </a:lnTo>
                    <a:lnTo>
                      <a:pt x="142" y="161"/>
                    </a:lnTo>
                    <a:lnTo>
                      <a:pt x="138" y="169"/>
                    </a:lnTo>
                    <a:lnTo>
                      <a:pt x="130" y="169"/>
                    </a:lnTo>
                    <a:lnTo>
                      <a:pt x="131" y="152"/>
                    </a:lnTo>
                    <a:lnTo>
                      <a:pt x="131" y="144"/>
                    </a:lnTo>
                    <a:lnTo>
                      <a:pt x="121" y="137"/>
                    </a:lnTo>
                    <a:lnTo>
                      <a:pt x="116" y="128"/>
                    </a:lnTo>
                    <a:lnTo>
                      <a:pt x="108" y="126"/>
                    </a:lnTo>
                    <a:lnTo>
                      <a:pt x="108" y="117"/>
                    </a:lnTo>
                    <a:lnTo>
                      <a:pt x="87" y="111"/>
                    </a:lnTo>
                    <a:lnTo>
                      <a:pt x="74" y="99"/>
                    </a:lnTo>
                    <a:lnTo>
                      <a:pt x="66" y="93"/>
                    </a:lnTo>
                    <a:lnTo>
                      <a:pt x="58" y="86"/>
                    </a:lnTo>
                    <a:lnTo>
                      <a:pt x="53" y="69"/>
                    </a:lnTo>
                    <a:lnTo>
                      <a:pt x="49" y="59"/>
                    </a:lnTo>
                    <a:lnTo>
                      <a:pt x="32" y="56"/>
                    </a:lnTo>
                    <a:lnTo>
                      <a:pt x="29" y="64"/>
                    </a:lnTo>
                    <a:lnTo>
                      <a:pt x="13" y="6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17" name="Freeform 254">
                <a:extLst>
                  <a:ext uri="{FF2B5EF4-FFF2-40B4-BE49-F238E27FC236}">
                    <a16:creationId xmlns:a16="http://schemas.microsoft.com/office/drawing/2014/main" id="{14B5EBFA-CE4C-458C-96B0-A02D03837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3" y="2180"/>
                <a:ext cx="197" cy="157"/>
              </a:xfrm>
              <a:custGeom>
                <a:avLst/>
                <a:gdLst>
                  <a:gd name="T0" fmla="*/ 174 w 175"/>
                  <a:gd name="T1" fmla="*/ 25 h 140"/>
                  <a:gd name="T2" fmla="*/ 147 w 175"/>
                  <a:gd name="T3" fmla="*/ 25 h 140"/>
                  <a:gd name="T4" fmla="*/ 137 w 175"/>
                  <a:gd name="T5" fmla="*/ 18 h 140"/>
                  <a:gd name="T6" fmla="*/ 116 w 175"/>
                  <a:gd name="T7" fmla="*/ 16 h 140"/>
                  <a:gd name="T8" fmla="*/ 98 w 175"/>
                  <a:gd name="T9" fmla="*/ 10 h 140"/>
                  <a:gd name="T10" fmla="*/ 76 w 175"/>
                  <a:gd name="T11" fmla="*/ 3 h 140"/>
                  <a:gd name="T12" fmla="*/ 64 w 175"/>
                  <a:gd name="T13" fmla="*/ 6 h 140"/>
                  <a:gd name="T14" fmla="*/ 53 w 175"/>
                  <a:gd name="T15" fmla="*/ 0 h 140"/>
                  <a:gd name="T16" fmla="*/ 5 w 175"/>
                  <a:gd name="T17" fmla="*/ 1 h 140"/>
                  <a:gd name="T18" fmla="*/ 8 w 175"/>
                  <a:gd name="T19" fmla="*/ 8 h 140"/>
                  <a:gd name="T20" fmla="*/ 0 w 175"/>
                  <a:gd name="T21" fmla="*/ 11 h 140"/>
                  <a:gd name="T22" fmla="*/ 1 w 175"/>
                  <a:gd name="T23" fmla="*/ 22 h 140"/>
                  <a:gd name="T24" fmla="*/ 8 w 175"/>
                  <a:gd name="T25" fmla="*/ 30 h 140"/>
                  <a:gd name="T26" fmla="*/ 12 w 175"/>
                  <a:gd name="T27" fmla="*/ 40 h 140"/>
                  <a:gd name="T28" fmla="*/ 25 w 175"/>
                  <a:gd name="T29" fmla="*/ 39 h 140"/>
                  <a:gd name="T30" fmla="*/ 35 w 175"/>
                  <a:gd name="T31" fmla="*/ 35 h 140"/>
                  <a:gd name="T32" fmla="*/ 39 w 175"/>
                  <a:gd name="T33" fmla="*/ 40 h 140"/>
                  <a:gd name="T34" fmla="*/ 36 w 175"/>
                  <a:gd name="T35" fmla="*/ 45 h 140"/>
                  <a:gd name="T36" fmla="*/ 33 w 175"/>
                  <a:gd name="T37" fmla="*/ 50 h 140"/>
                  <a:gd name="T38" fmla="*/ 27 w 175"/>
                  <a:gd name="T39" fmla="*/ 77 h 140"/>
                  <a:gd name="T40" fmla="*/ 21 w 175"/>
                  <a:gd name="T41" fmla="*/ 84 h 140"/>
                  <a:gd name="T42" fmla="*/ 29 w 175"/>
                  <a:gd name="T43" fmla="*/ 90 h 140"/>
                  <a:gd name="T44" fmla="*/ 30 w 175"/>
                  <a:gd name="T45" fmla="*/ 111 h 140"/>
                  <a:gd name="T46" fmla="*/ 31 w 175"/>
                  <a:gd name="T47" fmla="*/ 120 h 140"/>
                  <a:gd name="T48" fmla="*/ 40 w 175"/>
                  <a:gd name="T49" fmla="*/ 122 h 140"/>
                  <a:gd name="T50" fmla="*/ 40 w 175"/>
                  <a:gd name="T51" fmla="*/ 132 h 140"/>
                  <a:gd name="T52" fmla="*/ 50 w 175"/>
                  <a:gd name="T53" fmla="*/ 139 h 140"/>
                  <a:gd name="T54" fmla="*/ 59 w 175"/>
                  <a:gd name="T55" fmla="*/ 136 h 140"/>
                  <a:gd name="T56" fmla="*/ 67 w 175"/>
                  <a:gd name="T57" fmla="*/ 131 h 140"/>
                  <a:gd name="T58" fmla="*/ 101 w 175"/>
                  <a:gd name="T59" fmla="*/ 132 h 140"/>
                  <a:gd name="T60" fmla="*/ 109 w 175"/>
                  <a:gd name="T61" fmla="*/ 126 h 140"/>
                  <a:gd name="T62" fmla="*/ 109 w 175"/>
                  <a:gd name="T63" fmla="*/ 117 h 140"/>
                  <a:gd name="T64" fmla="*/ 119 w 175"/>
                  <a:gd name="T65" fmla="*/ 111 h 140"/>
                  <a:gd name="T66" fmla="*/ 126 w 175"/>
                  <a:gd name="T67" fmla="*/ 103 h 140"/>
                  <a:gd name="T68" fmla="*/ 129 w 175"/>
                  <a:gd name="T69" fmla="*/ 92 h 140"/>
                  <a:gd name="T70" fmla="*/ 119 w 175"/>
                  <a:gd name="T71" fmla="*/ 80 h 140"/>
                  <a:gd name="T72" fmla="*/ 126 w 175"/>
                  <a:gd name="T73" fmla="*/ 71 h 140"/>
                  <a:gd name="T74" fmla="*/ 133 w 175"/>
                  <a:gd name="T75" fmla="*/ 61 h 140"/>
                  <a:gd name="T76" fmla="*/ 144 w 175"/>
                  <a:gd name="T77" fmla="*/ 58 h 140"/>
                  <a:gd name="T78" fmla="*/ 155 w 175"/>
                  <a:gd name="T79" fmla="*/ 44 h 140"/>
                  <a:gd name="T80" fmla="*/ 163 w 175"/>
                  <a:gd name="T81" fmla="*/ 36 h 140"/>
                  <a:gd name="T82" fmla="*/ 174 w 175"/>
                  <a:gd name="T83" fmla="*/ 25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75" h="140">
                    <a:moveTo>
                      <a:pt x="174" y="25"/>
                    </a:moveTo>
                    <a:lnTo>
                      <a:pt x="147" y="25"/>
                    </a:lnTo>
                    <a:lnTo>
                      <a:pt x="137" y="18"/>
                    </a:lnTo>
                    <a:lnTo>
                      <a:pt x="116" y="16"/>
                    </a:lnTo>
                    <a:lnTo>
                      <a:pt x="98" y="10"/>
                    </a:lnTo>
                    <a:lnTo>
                      <a:pt x="76" y="3"/>
                    </a:lnTo>
                    <a:lnTo>
                      <a:pt x="64" y="6"/>
                    </a:lnTo>
                    <a:lnTo>
                      <a:pt x="53" y="0"/>
                    </a:lnTo>
                    <a:lnTo>
                      <a:pt x="5" y="1"/>
                    </a:lnTo>
                    <a:lnTo>
                      <a:pt x="8" y="8"/>
                    </a:lnTo>
                    <a:lnTo>
                      <a:pt x="0" y="11"/>
                    </a:lnTo>
                    <a:lnTo>
                      <a:pt x="1" y="22"/>
                    </a:lnTo>
                    <a:lnTo>
                      <a:pt x="8" y="30"/>
                    </a:lnTo>
                    <a:lnTo>
                      <a:pt x="12" y="40"/>
                    </a:lnTo>
                    <a:lnTo>
                      <a:pt x="25" y="39"/>
                    </a:lnTo>
                    <a:lnTo>
                      <a:pt x="35" y="35"/>
                    </a:lnTo>
                    <a:lnTo>
                      <a:pt x="39" y="40"/>
                    </a:lnTo>
                    <a:lnTo>
                      <a:pt x="36" y="45"/>
                    </a:lnTo>
                    <a:lnTo>
                      <a:pt x="33" y="50"/>
                    </a:lnTo>
                    <a:lnTo>
                      <a:pt x="27" y="77"/>
                    </a:lnTo>
                    <a:lnTo>
                      <a:pt x="21" y="84"/>
                    </a:lnTo>
                    <a:lnTo>
                      <a:pt x="29" y="90"/>
                    </a:lnTo>
                    <a:lnTo>
                      <a:pt x="30" y="111"/>
                    </a:lnTo>
                    <a:lnTo>
                      <a:pt x="31" y="120"/>
                    </a:lnTo>
                    <a:lnTo>
                      <a:pt x="40" y="122"/>
                    </a:lnTo>
                    <a:lnTo>
                      <a:pt x="40" y="132"/>
                    </a:lnTo>
                    <a:lnTo>
                      <a:pt x="50" y="139"/>
                    </a:lnTo>
                    <a:lnTo>
                      <a:pt x="59" y="136"/>
                    </a:lnTo>
                    <a:lnTo>
                      <a:pt x="67" y="131"/>
                    </a:lnTo>
                    <a:lnTo>
                      <a:pt x="101" y="132"/>
                    </a:lnTo>
                    <a:lnTo>
                      <a:pt x="109" y="126"/>
                    </a:lnTo>
                    <a:lnTo>
                      <a:pt x="109" y="117"/>
                    </a:lnTo>
                    <a:lnTo>
                      <a:pt x="119" y="111"/>
                    </a:lnTo>
                    <a:lnTo>
                      <a:pt x="126" y="103"/>
                    </a:lnTo>
                    <a:lnTo>
                      <a:pt x="129" y="92"/>
                    </a:lnTo>
                    <a:lnTo>
                      <a:pt x="119" y="80"/>
                    </a:lnTo>
                    <a:lnTo>
                      <a:pt x="126" y="71"/>
                    </a:lnTo>
                    <a:lnTo>
                      <a:pt x="133" y="61"/>
                    </a:lnTo>
                    <a:lnTo>
                      <a:pt x="144" y="58"/>
                    </a:lnTo>
                    <a:lnTo>
                      <a:pt x="155" y="44"/>
                    </a:lnTo>
                    <a:lnTo>
                      <a:pt x="163" y="36"/>
                    </a:lnTo>
                    <a:lnTo>
                      <a:pt x="174" y="25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18" name="Freeform 255">
                <a:extLst>
                  <a:ext uri="{FF2B5EF4-FFF2-40B4-BE49-F238E27FC236}">
                    <a16:creationId xmlns:a16="http://schemas.microsoft.com/office/drawing/2014/main" id="{6E05F757-7E89-42F9-83E1-090F395145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2" y="2212"/>
                <a:ext cx="57" cy="108"/>
              </a:xfrm>
              <a:custGeom>
                <a:avLst/>
                <a:gdLst>
                  <a:gd name="T0" fmla="*/ 41 w 51"/>
                  <a:gd name="T1" fmla="*/ 82 h 96"/>
                  <a:gd name="T2" fmla="*/ 40 w 51"/>
                  <a:gd name="T3" fmla="*/ 61 h 96"/>
                  <a:gd name="T4" fmla="*/ 32 w 51"/>
                  <a:gd name="T5" fmla="*/ 55 h 96"/>
                  <a:gd name="T6" fmla="*/ 38 w 51"/>
                  <a:gd name="T7" fmla="*/ 48 h 96"/>
                  <a:gd name="T8" fmla="*/ 44 w 51"/>
                  <a:gd name="T9" fmla="*/ 21 h 96"/>
                  <a:gd name="T10" fmla="*/ 47 w 51"/>
                  <a:gd name="T11" fmla="*/ 15 h 96"/>
                  <a:gd name="T12" fmla="*/ 50 w 51"/>
                  <a:gd name="T13" fmla="*/ 10 h 96"/>
                  <a:gd name="T14" fmla="*/ 46 w 51"/>
                  <a:gd name="T15" fmla="*/ 5 h 96"/>
                  <a:gd name="T16" fmla="*/ 36 w 51"/>
                  <a:gd name="T17" fmla="*/ 9 h 96"/>
                  <a:gd name="T18" fmla="*/ 23 w 51"/>
                  <a:gd name="T19" fmla="*/ 10 h 96"/>
                  <a:gd name="T20" fmla="*/ 19 w 51"/>
                  <a:gd name="T21" fmla="*/ 0 h 96"/>
                  <a:gd name="T22" fmla="*/ 14 w 51"/>
                  <a:gd name="T23" fmla="*/ 13 h 96"/>
                  <a:gd name="T24" fmla="*/ 14 w 51"/>
                  <a:gd name="T25" fmla="*/ 28 h 96"/>
                  <a:gd name="T26" fmla="*/ 16 w 51"/>
                  <a:gd name="T27" fmla="*/ 34 h 96"/>
                  <a:gd name="T28" fmla="*/ 10 w 51"/>
                  <a:gd name="T29" fmla="*/ 44 h 96"/>
                  <a:gd name="T30" fmla="*/ 1 w 51"/>
                  <a:gd name="T31" fmla="*/ 50 h 96"/>
                  <a:gd name="T32" fmla="*/ 0 w 51"/>
                  <a:gd name="T33" fmla="*/ 66 h 96"/>
                  <a:gd name="T34" fmla="*/ 10 w 51"/>
                  <a:gd name="T35" fmla="*/ 70 h 96"/>
                  <a:gd name="T36" fmla="*/ 11 w 51"/>
                  <a:gd name="T37" fmla="*/ 80 h 96"/>
                  <a:gd name="T38" fmla="*/ 12 w 51"/>
                  <a:gd name="T39" fmla="*/ 91 h 96"/>
                  <a:gd name="T40" fmla="*/ 23 w 51"/>
                  <a:gd name="T41" fmla="*/ 95 h 96"/>
                  <a:gd name="T42" fmla="*/ 34 w 51"/>
                  <a:gd name="T43" fmla="*/ 95 h 96"/>
                  <a:gd name="T44" fmla="*/ 41 w 51"/>
                  <a:gd name="T45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1" h="96">
                    <a:moveTo>
                      <a:pt x="41" y="82"/>
                    </a:moveTo>
                    <a:lnTo>
                      <a:pt x="40" y="61"/>
                    </a:lnTo>
                    <a:lnTo>
                      <a:pt x="32" y="55"/>
                    </a:lnTo>
                    <a:lnTo>
                      <a:pt x="38" y="48"/>
                    </a:lnTo>
                    <a:lnTo>
                      <a:pt x="44" y="21"/>
                    </a:lnTo>
                    <a:lnTo>
                      <a:pt x="47" y="15"/>
                    </a:lnTo>
                    <a:lnTo>
                      <a:pt x="50" y="10"/>
                    </a:lnTo>
                    <a:lnTo>
                      <a:pt x="46" y="5"/>
                    </a:lnTo>
                    <a:lnTo>
                      <a:pt x="36" y="9"/>
                    </a:lnTo>
                    <a:lnTo>
                      <a:pt x="23" y="10"/>
                    </a:lnTo>
                    <a:lnTo>
                      <a:pt x="19" y="0"/>
                    </a:lnTo>
                    <a:lnTo>
                      <a:pt x="14" y="13"/>
                    </a:lnTo>
                    <a:lnTo>
                      <a:pt x="14" y="28"/>
                    </a:lnTo>
                    <a:lnTo>
                      <a:pt x="16" y="34"/>
                    </a:lnTo>
                    <a:lnTo>
                      <a:pt x="10" y="44"/>
                    </a:lnTo>
                    <a:lnTo>
                      <a:pt x="1" y="50"/>
                    </a:lnTo>
                    <a:lnTo>
                      <a:pt x="0" y="66"/>
                    </a:lnTo>
                    <a:lnTo>
                      <a:pt x="10" y="70"/>
                    </a:lnTo>
                    <a:lnTo>
                      <a:pt x="11" y="80"/>
                    </a:lnTo>
                    <a:lnTo>
                      <a:pt x="12" y="91"/>
                    </a:lnTo>
                    <a:lnTo>
                      <a:pt x="23" y="95"/>
                    </a:lnTo>
                    <a:lnTo>
                      <a:pt x="34" y="95"/>
                    </a:lnTo>
                    <a:lnTo>
                      <a:pt x="41" y="8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19" name="Freeform 256">
                <a:extLst>
                  <a:ext uri="{FF2B5EF4-FFF2-40B4-BE49-F238E27FC236}">
                    <a16:creationId xmlns:a16="http://schemas.microsoft.com/office/drawing/2014/main" id="{251A69E5-4AAC-494A-BA27-929E5E6E63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2" y="2199"/>
                <a:ext cx="18" cy="31"/>
              </a:xfrm>
              <a:custGeom>
                <a:avLst/>
                <a:gdLst>
                  <a:gd name="T0" fmla="*/ 14 w 15"/>
                  <a:gd name="T1" fmla="*/ 0 h 27"/>
                  <a:gd name="T2" fmla="*/ 9 w 15"/>
                  <a:gd name="T3" fmla="*/ 4 h 27"/>
                  <a:gd name="T4" fmla="*/ 0 w 15"/>
                  <a:gd name="T5" fmla="*/ 10 h 27"/>
                  <a:gd name="T6" fmla="*/ 3 w 15"/>
                  <a:gd name="T7" fmla="*/ 20 h 27"/>
                  <a:gd name="T8" fmla="*/ 10 w 15"/>
                  <a:gd name="T9" fmla="*/ 26 h 27"/>
                  <a:gd name="T10" fmla="*/ 14 w 15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27">
                    <a:moveTo>
                      <a:pt x="14" y="0"/>
                    </a:moveTo>
                    <a:lnTo>
                      <a:pt x="9" y="4"/>
                    </a:lnTo>
                    <a:lnTo>
                      <a:pt x="0" y="10"/>
                    </a:lnTo>
                    <a:lnTo>
                      <a:pt x="3" y="20"/>
                    </a:lnTo>
                    <a:lnTo>
                      <a:pt x="10" y="26"/>
                    </a:lnTo>
                    <a:lnTo>
                      <a:pt x="14" y="0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20" name="Freeform 257">
                <a:extLst>
                  <a:ext uri="{FF2B5EF4-FFF2-40B4-BE49-F238E27FC236}">
                    <a16:creationId xmlns:a16="http://schemas.microsoft.com/office/drawing/2014/main" id="{405F8A37-14EB-4F51-871E-7C4F53B2D9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7" y="2239"/>
                <a:ext cx="23" cy="39"/>
              </a:xfrm>
              <a:custGeom>
                <a:avLst/>
                <a:gdLst>
                  <a:gd name="T0" fmla="*/ 2 w 20"/>
                  <a:gd name="T1" fmla="*/ 3 h 35"/>
                  <a:gd name="T2" fmla="*/ 5 w 20"/>
                  <a:gd name="T3" fmla="*/ 3 h 35"/>
                  <a:gd name="T4" fmla="*/ 12 w 20"/>
                  <a:gd name="T5" fmla="*/ 1 h 35"/>
                  <a:gd name="T6" fmla="*/ 16 w 20"/>
                  <a:gd name="T7" fmla="*/ 0 h 35"/>
                  <a:gd name="T8" fmla="*/ 18 w 20"/>
                  <a:gd name="T9" fmla="*/ 5 h 35"/>
                  <a:gd name="T10" fmla="*/ 19 w 20"/>
                  <a:gd name="T11" fmla="*/ 13 h 35"/>
                  <a:gd name="T12" fmla="*/ 18 w 20"/>
                  <a:gd name="T13" fmla="*/ 20 h 35"/>
                  <a:gd name="T14" fmla="*/ 16 w 20"/>
                  <a:gd name="T15" fmla="*/ 31 h 35"/>
                  <a:gd name="T16" fmla="*/ 9 w 20"/>
                  <a:gd name="T17" fmla="*/ 34 h 35"/>
                  <a:gd name="T18" fmla="*/ 3 w 20"/>
                  <a:gd name="T19" fmla="*/ 31 h 35"/>
                  <a:gd name="T20" fmla="*/ 3 w 20"/>
                  <a:gd name="T21" fmla="*/ 23 h 35"/>
                  <a:gd name="T22" fmla="*/ 3 w 20"/>
                  <a:gd name="T23" fmla="*/ 14 h 35"/>
                  <a:gd name="T24" fmla="*/ 0 w 20"/>
                  <a:gd name="T25" fmla="*/ 8 h 35"/>
                  <a:gd name="T26" fmla="*/ 2 w 20"/>
                  <a:gd name="T27" fmla="*/ 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35">
                    <a:moveTo>
                      <a:pt x="2" y="3"/>
                    </a:moveTo>
                    <a:lnTo>
                      <a:pt x="5" y="3"/>
                    </a:lnTo>
                    <a:lnTo>
                      <a:pt x="12" y="1"/>
                    </a:lnTo>
                    <a:lnTo>
                      <a:pt x="16" y="0"/>
                    </a:lnTo>
                    <a:lnTo>
                      <a:pt x="18" y="5"/>
                    </a:lnTo>
                    <a:lnTo>
                      <a:pt x="19" y="13"/>
                    </a:lnTo>
                    <a:lnTo>
                      <a:pt x="18" y="20"/>
                    </a:lnTo>
                    <a:lnTo>
                      <a:pt x="16" y="31"/>
                    </a:lnTo>
                    <a:lnTo>
                      <a:pt x="9" y="34"/>
                    </a:lnTo>
                    <a:lnTo>
                      <a:pt x="3" y="31"/>
                    </a:lnTo>
                    <a:lnTo>
                      <a:pt x="3" y="23"/>
                    </a:lnTo>
                    <a:lnTo>
                      <a:pt x="3" y="14"/>
                    </a:lnTo>
                    <a:lnTo>
                      <a:pt x="0" y="8"/>
                    </a:lnTo>
                    <a:lnTo>
                      <a:pt x="2" y="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21" name="Freeform 258">
                <a:extLst>
                  <a:ext uri="{FF2B5EF4-FFF2-40B4-BE49-F238E27FC236}">
                    <a16:creationId xmlns:a16="http://schemas.microsoft.com/office/drawing/2014/main" id="{B08DC5FC-5004-483A-BCB2-EBB24AAD0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" y="2221"/>
                <a:ext cx="87" cy="89"/>
              </a:xfrm>
              <a:custGeom>
                <a:avLst/>
                <a:gdLst>
                  <a:gd name="T0" fmla="*/ 34 w 76"/>
                  <a:gd name="T1" fmla="*/ 58 h 80"/>
                  <a:gd name="T2" fmla="*/ 16 w 76"/>
                  <a:gd name="T3" fmla="*/ 54 h 80"/>
                  <a:gd name="T4" fmla="*/ 14 w 76"/>
                  <a:gd name="T5" fmla="*/ 45 h 80"/>
                  <a:gd name="T6" fmla="*/ 1 w 76"/>
                  <a:gd name="T7" fmla="*/ 32 h 80"/>
                  <a:gd name="T8" fmla="*/ 0 w 76"/>
                  <a:gd name="T9" fmla="*/ 21 h 80"/>
                  <a:gd name="T10" fmla="*/ 13 w 76"/>
                  <a:gd name="T11" fmla="*/ 10 h 80"/>
                  <a:gd name="T12" fmla="*/ 24 w 76"/>
                  <a:gd name="T13" fmla="*/ 14 h 80"/>
                  <a:gd name="T14" fmla="*/ 38 w 76"/>
                  <a:gd name="T15" fmla="*/ 3 h 80"/>
                  <a:gd name="T16" fmla="*/ 45 w 76"/>
                  <a:gd name="T17" fmla="*/ 3 h 80"/>
                  <a:gd name="T18" fmla="*/ 58 w 76"/>
                  <a:gd name="T19" fmla="*/ 7 h 80"/>
                  <a:gd name="T20" fmla="*/ 67 w 76"/>
                  <a:gd name="T21" fmla="*/ 0 h 80"/>
                  <a:gd name="T22" fmla="*/ 75 w 76"/>
                  <a:gd name="T23" fmla="*/ 0 h 80"/>
                  <a:gd name="T24" fmla="*/ 75 w 76"/>
                  <a:gd name="T25" fmla="*/ 13 h 80"/>
                  <a:gd name="T26" fmla="*/ 66 w 76"/>
                  <a:gd name="T27" fmla="*/ 14 h 80"/>
                  <a:gd name="T28" fmla="*/ 61 w 76"/>
                  <a:gd name="T29" fmla="*/ 19 h 80"/>
                  <a:gd name="T30" fmla="*/ 56 w 76"/>
                  <a:gd name="T31" fmla="*/ 24 h 80"/>
                  <a:gd name="T32" fmla="*/ 60 w 76"/>
                  <a:gd name="T33" fmla="*/ 31 h 80"/>
                  <a:gd name="T34" fmla="*/ 49 w 76"/>
                  <a:gd name="T35" fmla="*/ 33 h 80"/>
                  <a:gd name="T36" fmla="*/ 45 w 76"/>
                  <a:gd name="T37" fmla="*/ 30 h 80"/>
                  <a:gd name="T38" fmla="*/ 40 w 76"/>
                  <a:gd name="T39" fmla="*/ 31 h 80"/>
                  <a:gd name="T40" fmla="*/ 45 w 76"/>
                  <a:gd name="T41" fmla="*/ 37 h 80"/>
                  <a:gd name="T42" fmla="*/ 38 w 76"/>
                  <a:gd name="T43" fmla="*/ 45 h 80"/>
                  <a:gd name="T44" fmla="*/ 48 w 76"/>
                  <a:gd name="T45" fmla="*/ 49 h 80"/>
                  <a:gd name="T46" fmla="*/ 61 w 76"/>
                  <a:gd name="T47" fmla="*/ 58 h 80"/>
                  <a:gd name="T48" fmla="*/ 64 w 76"/>
                  <a:gd name="T49" fmla="*/ 65 h 80"/>
                  <a:gd name="T50" fmla="*/ 59 w 76"/>
                  <a:gd name="T51" fmla="*/ 64 h 80"/>
                  <a:gd name="T52" fmla="*/ 45 w 76"/>
                  <a:gd name="T53" fmla="*/ 69 h 80"/>
                  <a:gd name="T54" fmla="*/ 50 w 76"/>
                  <a:gd name="T55" fmla="*/ 77 h 80"/>
                  <a:gd name="T56" fmla="*/ 26 w 76"/>
                  <a:gd name="T57" fmla="*/ 79 h 80"/>
                  <a:gd name="T58" fmla="*/ 26 w 76"/>
                  <a:gd name="T59" fmla="*/ 69 h 80"/>
                  <a:gd name="T60" fmla="*/ 16 w 76"/>
                  <a:gd name="T61" fmla="*/ 65 h 80"/>
                  <a:gd name="T62" fmla="*/ 26 w 76"/>
                  <a:gd name="T63" fmla="*/ 61 h 80"/>
                  <a:gd name="T64" fmla="*/ 32 w 76"/>
                  <a:gd name="T65" fmla="*/ 60 h 80"/>
                  <a:gd name="T66" fmla="*/ 34 w 76"/>
                  <a:gd name="T67" fmla="*/ 58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6" h="80">
                    <a:moveTo>
                      <a:pt x="34" y="58"/>
                    </a:moveTo>
                    <a:lnTo>
                      <a:pt x="16" y="54"/>
                    </a:lnTo>
                    <a:lnTo>
                      <a:pt x="14" y="45"/>
                    </a:lnTo>
                    <a:lnTo>
                      <a:pt x="1" y="32"/>
                    </a:lnTo>
                    <a:lnTo>
                      <a:pt x="0" y="21"/>
                    </a:lnTo>
                    <a:lnTo>
                      <a:pt x="13" y="10"/>
                    </a:lnTo>
                    <a:lnTo>
                      <a:pt x="24" y="14"/>
                    </a:lnTo>
                    <a:lnTo>
                      <a:pt x="38" y="3"/>
                    </a:lnTo>
                    <a:lnTo>
                      <a:pt x="45" y="3"/>
                    </a:lnTo>
                    <a:lnTo>
                      <a:pt x="58" y="7"/>
                    </a:lnTo>
                    <a:lnTo>
                      <a:pt x="67" y="0"/>
                    </a:lnTo>
                    <a:lnTo>
                      <a:pt x="75" y="0"/>
                    </a:lnTo>
                    <a:lnTo>
                      <a:pt x="75" y="13"/>
                    </a:lnTo>
                    <a:lnTo>
                      <a:pt x="66" y="14"/>
                    </a:lnTo>
                    <a:lnTo>
                      <a:pt x="61" y="19"/>
                    </a:lnTo>
                    <a:lnTo>
                      <a:pt x="56" y="24"/>
                    </a:lnTo>
                    <a:lnTo>
                      <a:pt x="60" y="31"/>
                    </a:lnTo>
                    <a:lnTo>
                      <a:pt x="49" y="33"/>
                    </a:lnTo>
                    <a:lnTo>
                      <a:pt x="45" y="30"/>
                    </a:lnTo>
                    <a:lnTo>
                      <a:pt x="40" y="31"/>
                    </a:lnTo>
                    <a:lnTo>
                      <a:pt x="45" y="37"/>
                    </a:lnTo>
                    <a:lnTo>
                      <a:pt x="38" y="45"/>
                    </a:lnTo>
                    <a:lnTo>
                      <a:pt x="48" y="49"/>
                    </a:lnTo>
                    <a:lnTo>
                      <a:pt x="61" y="58"/>
                    </a:lnTo>
                    <a:lnTo>
                      <a:pt x="64" y="65"/>
                    </a:lnTo>
                    <a:lnTo>
                      <a:pt x="59" y="64"/>
                    </a:lnTo>
                    <a:lnTo>
                      <a:pt x="45" y="69"/>
                    </a:lnTo>
                    <a:lnTo>
                      <a:pt x="50" y="77"/>
                    </a:lnTo>
                    <a:lnTo>
                      <a:pt x="26" y="79"/>
                    </a:lnTo>
                    <a:lnTo>
                      <a:pt x="26" y="69"/>
                    </a:lnTo>
                    <a:lnTo>
                      <a:pt x="16" y="65"/>
                    </a:lnTo>
                    <a:lnTo>
                      <a:pt x="26" y="61"/>
                    </a:lnTo>
                    <a:lnTo>
                      <a:pt x="32" y="60"/>
                    </a:lnTo>
                    <a:lnTo>
                      <a:pt x="34" y="58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22" name="Freeform 259">
                <a:extLst>
                  <a:ext uri="{FF2B5EF4-FFF2-40B4-BE49-F238E27FC236}">
                    <a16:creationId xmlns:a16="http://schemas.microsoft.com/office/drawing/2014/main" id="{CB93B5C5-A52A-4C6F-A560-3D5584837F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3" y="1929"/>
                <a:ext cx="134" cy="172"/>
              </a:xfrm>
              <a:custGeom>
                <a:avLst/>
                <a:gdLst>
                  <a:gd name="T0" fmla="*/ 119 w 120"/>
                  <a:gd name="T1" fmla="*/ 73 h 152"/>
                  <a:gd name="T2" fmla="*/ 79 w 120"/>
                  <a:gd name="T3" fmla="*/ 90 h 152"/>
                  <a:gd name="T4" fmla="*/ 119 w 120"/>
                  <a:gd name="T5" fmla="*/ 73 h 152"/>
                  <a:gd name="T6" fmla="*/ 110 w 120"/>
                  <a:gd name="T7" fmla="*/ 47 h 152"/>
                  <a:gd name="T8" fmla="*/ 113 w 120"/>
                  <a:gd name="T9" fmla="*/ 18 h 152"/>
                  <a:gd name="T10" fmla="*/ 108 w 120"/>
                  <a:gd name="T11" fmla="*/ 14 h 152"/>
                  <a:gd name="T12" fmla="*/ 73 w 120"/>
                  <a:gd name="T13" fmla="*/ 20 h 152"/>
                  <a:gd name="T14" fmla="*/ 66 w 120"/>
                  <a:gd name="T15" fmla="*/ 12 h 152"/>
                  <a:gd name="T16" fmla="*/ 60 w 120"/>
                  <a:gd name="T17" fmla="*/ 0 h 152"/>
                  <a:gd name="T18" fmla="*/ 43 w 120"/>
                  <a:gd name="T19" fmla="*/ 4 h 152"/>
                  <a:gd name="T20" fmla="*/ 43 w 120"/>
                  <a:gd name="T21" fmla="*/ 19 h 152"/>
                  <a:gd name="T22" fmla="*/ 43 w 120"/>
                  <a:gd name="T23" fmla="*/ 25 h 152"/>
                  <a:gd name="T24" fmla="*/ 38 w 120"/>
                  <a:gd name="T25" fmla="*/ 25 h 152"/>
                  <a:gd name="T26" fmla="*/ 21 w 120"/>
                  <a:gd name="T27" fmla="*/ 31 h 152"/>
                  <a:gd name="T28" fmla="*/ 21 w 120"/>
                  <a:gd name="T29" fmla="*/ 46 h 152"/>
                  <a:gd name="T30" fmla="*/ 13 w 120"/>
                  <a:gd name="T31" fmla="*/ 60 h 152"/>
                  <a:gd name="T32" fmla="*/ 3 w 120"/>
                  <a:gd name="T33" fmla="*/ 67 h 152"/>
                  <a:gd name="T34" fmla="*/ 0 w 120"/>
                  <a:gd name="T35" fmla="*/ 84 h 152"/>
                  <a:gd name="T36" fmla="*/ 9 w 120"/>
                  <a:gd name="T37" fmla="*/ 88 h 152"/>
                  <a:gd name="T38" fmla="*/ 8 w 120"/>
                  <a:gd name="T39" fmla="*/ 98 h 152"/>
                  <a:gd name="T40" fmla="*/ 18 w 120"/>
                  <a:gd name="T41" fmla="*/ 105 h 152"/>
                  <a:gd name="T42" fmla="*/ 31 w 120"/>
                  <a:gd name="T43" fmla="*/ 116 h 152"/>
                  <a:gd name="T44" fmla="*/ 25 w 120"/>
                  <a:gd name="T45" fmla="*/ 124 h 152"/>
                  <a:gd name="T46" fmla="*/ 28 w 120"/>
                  <a:gd name="T47" fmla="*/ 146 h 152"/>
                  <a:gd name="T48" fmla="*/ 36 w 120"/>
                  <a:gd name="T49" fmla="*/ 147 h 152"/>
                  <a:gd name="T50" fmla="*/ 46 w 120"/>
                  <a:gd name="T51" fmla="*/ 144 h 152"/>
                  <a:gd name="T52" fmla="*/ 54 w 120"/>
                  <a:gd name="T53" fmla="*/ 149 h 152"/>
                  <a:gd name="T54" fmla="*/ 60 w 120"/>
                  <a:gd name="T55" fmla="*/ 150 h 152"/>
                  <a:gd name="T56" fmla="*/ 65 w 120"/>
                  <a:gd name="T57" fmla="*/ 151 h 152"/>
                  <a:gd name="T58" fmla="*/ 83 w 120"/>
                  <a:gd name="T59" fmla="*/ 143 h 152"/>
                  <a:gd name="T60" fmla="*/ 97 w 120"/>
                  <a:gd name="T61" fmla="*/ 136 h 152"/>
                  <a:gd name="T62" fmla="*/ 101 w 120"/>
                  <a:gd name="T63" fmla="*/ 131 h 152"/>
                  <a:gd name="T64" fmla="*/ 102 w 120"/>
                  <a:gd name="T65" fmla="*/ 115 h 152"/>
                  <a:gd name="T66" fmla="*/ 79 w 120"/>
                  <a:gd name="T67" fmla="*/ 90 h 152"/>
                  <a:gd name="T68" fmla="*/ 119 w 120"/>
                  <a:gd name="T69" fmla="*/ 73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0" h="152">
                    <a:moveTo>
                      <a:pt x="119" y="73"/>
                    </a:moveTo>
                    <a:lnTo>
                      <a:pt x="79" y="90"/>
                    </a:lnTo>
                    <a:lnTo>
                      <a:pt x="119" y="73"/>
                    </a:lnTo>
                    <a:lnTo>
                      <a:pt x="110" y="47"/>
                    </a:lnTo>
                    <a:lnTo>
                      <a:pt x="113" y="18"/>
                    </a:lnTo>
                    <a:lnTo>
                      <a:pt x="108" y="14"/>
                    </a:lnTo>
                    <a:lnTo>
                      <a:pt x="73" y="20"/>
                    </a:lnTo>
                    <a:lnTo>
                      <a:pt x="66" y="12"/>
                    </a:lnTo>
                    <a:lnTo>
                      <a:pt x="60" y="0"/>
                    </a:lnTo>
                    <a:lnTo>
                      <a:pt x="43" y="4"/>
                    </a:lnTo>
                    <a:lnTo>
                      <a:pt x="43" y="19"/>
                    </a:lnTo>
                    <a:lnTo>
                      <a:pt x="43" y="25"/>
                    </a:lnTo>
                    <a:lnTo>
                      <a:pt x="38" y="25"/>
                    </a:lnTo>
                    <a:lnTo>
                      <a:pt x="21" y="31"/>
                    </a:lnTo>
                    <a:lnTo>
                      <a:pt x="21" y="46"/>
                    </a:lnTo>
                    <a:lnTo>
                      <a:pt x="13" y="60"/>
                    </a:lnTo>
                    <a:lnTo>
                      <a:pt x="3" y="67"/>
                    </a:lnTo>
                    <a:lnTo>
                      <a:pt x="0" y="84"/>
                    </a:lnTo>
                    <a:lnTo>
                      <a:pt x="9" y="88"/>
                    </a:lnTo>
                    <a:lnTo>
                      <a:pt x="8" y="98"/>
                    </a:lnTo>
                    <a:lnTo>
                      <a:pt x="18" y="105"/>
                    </a:lnTo>
                    <a:lnTo>
                      <a:pt x="31" y="116"/>
                    </a:lnTo>
                    <a:lnTo>
                      <a:pt x="25" y="124"/>
                    </a:lnTo>
                    <a:lnTo>
                      <a:pt x="28" y="146"/>
                    </a:lnTo>
                    <a:lnTo>
                      <a:pt x="36" y="147"/>
                    </a:lnTo>
                    <a:lnTo>
                      <a:pt x="46" y="144"/>
                    </a:lnTo>
                    <a:lnTo>
                      <a:pt x="54" y="149"/>
                    </a:lnTo>
                    <a:lnTo>
                      <a:pt x="60" y="150"/>
                    </a:lnTo>
                    <a:lnTo>
                      <a:pt x="65" y="151"/>
                    </a:lnTo>
                    <a:lnTo>
                      <a:pt x="83" y="143"/>
                    </a:lnTo>
                    <a:lnTo>
                      <a:pt x="97" y="136"/>
                    </a:lnTo>
                    <a:lnTo>
                      <a:pt x="101" y="131"/>
                    </a:lnTo>
                    <a:lnTo>
                      <a:pt x="102" y="115"/>
                    </a:lnTo>
                    <a:lnTo>
                      <a:pt x="79" y="90"/>
                    </a:lnTo>
                    <a:lnTo>
                      <a:pt x="119" y="7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23" name="Freeform 260">
                <a:extLst>
                  <a:ext uri="{FF2B5EF4-FFF2-40B4-BE49-F238E27FC236}">
                    <a16:creationId xmlns:a16="http://schemas.microsoft.com/office/drawing/2014/main" id="{B827096C-5EA3-4F89-BECB-F5C19DA0EB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6" y="1928"/>
                <a:ext cx="148" cy="118"/>
              </a:xfrm>
              <a:custGeom>
                <a:avLst/>
                <a:gdLst>
                  <a:gd name="T0" fmla="*/ 9 w 132"/>
                  <a:gd name="T1" fmla="*/ 74 h 105"/>
                  <a:gd name="T2" fmla="*/ 0 w 132"/>
                  <a:gd name="T3" fmla="*/ 48 h 105"/>
                  <a:gd name="T4" fmla="*/ 3 w 132"/>
                  <a:gd name="T5" fmla="*/ 19 h 105"/>
                  <a:gd name="T6" fmla="*/ 43 w 132"/>
                  <a:gd name="T7" fmla="*/ 0 h 105"/>
                  <a:gd name="T8" fmla="*/ 57 w 132"/>
                  <a:gd name="T9" fmla="*/ 7 h 105"/>
                  <a:gd name="T10" fmla="*/ 77 w 132"/>
                  <a:gd name="T11" fmla="*/ 3 h 105"/>
                  <a:gd name="T12" fmla="*/ 101 w 132"/>
                  <a:gd name="T13" fmla="*/ 13 h 105"/>
                  <a:gd name="T14" fmla="*/ 120 w 132"/>
                  <a:gd name="T15" fmla="*/ 30 h 105"/>
                  <a:gd name="T16" fmla="*/ 120 w 132"/>
                  <a:gd name="T17" fmla="*/ 50 h 105"/>
                  <a:gd name="T18" fmla="*/ 129 w 132"/>
                  <a:gd name="T19" fmla="*/ 50 h 105"/>
                  <a:gd name="T20" fmla="*/ 130 w 132"/>
                  <a:gd name="T21" fmla="*/ 66 h 105"/>
                  <a:gd name="T22" fmla="*/ 131 w 132"/>
                  <a:gd name="T23" fmla="*/ 93 h 105"/>
                  <a:gd name="T24" fmla="*/ 120 w 132"/>
                  <a:gd name="T25" fmla="*/ 101 h 105"/>
                  <a:gd name="T26" fmla="*/ 96 w 132"/>
                  <a:gd name="T27" fmla="*/ 103 h 105"/>
                  <a:gd name="T28" fmla="*/ 73 w 132"/>
                  <a:gd name="T29" fmla="*/ 104 h 105"/>
                  <a:gd name="T30" fmla="*/ 57 w 132"/>
                  <a:gd name="T31" fmla="*/ 95 h 105"/>
                  <a:gd name="T32" fmla="*/ 23 w 132"/>
                  <a:gd name="T33" fmla="*/ 84 h 105"/>
                  <a:gd name="T34" fmla="*/ 9 w 132"/>
                  <a:gd name="T35" fmla="*/ 74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2" h="105">
                    <a:moveTo>
                      <a:pt x="9" y="74"/>
                    </a:moveTo>
                    <a:lnTo>
                      <a:pt x="0" y="48"/>
                    </a:lnTo>
                    <a:lnTo>
                      <a:pt x="3" y="19"/>
                    </a:lnTo>
                    <a:lnTo>
                      <a:pt x="43" y="0"/>
                    </a:lnTo>
                    <a:lnTo>
                      <a:pt x="57" y="7"/>
                    </a:lnTo>
                    <a:lnTo>
                      <a:pt x="77" y="3"/>
                    </a:lnTo>
                    <a:lnTo>
                      <a:pt x="101" y="13"/>
                    </a:lnTo>
                    <a:lnTo>
                      <a:pt x="120" y="30"/>
                    </a:lnTo>
                    <a:lnTo>
                      <a:pt x="120" y="50"/>
                    </a:lnTo>
                    <a:lnTo>
                      <a:pt x="129" y="50"/>
                    </a:lnTo>
                    <a:lnTo>
                      <a:pt x="130" y="66"/>
                    </a:lnTo>
                    <a:lnTo>
                      <a:pt x="131" y="93"/>
                    </a:lnTo>
                    <a:lnTo>
                      <a:pt x="120" y="101"/>
                    </a:lnTo>
                    <a:lnTo>
                      <a:pt x="96" y="103"/>
                    </a:lnTo>
                    <a:lnTo>
                      <a:pt x="73" y="104"/>
                    </a:lnTo>
                    <a:lnTo>
                      <a:pt x="57" y="95"/>
                    </a:lnTo>
                    <a:lnTo>
                      <a:pt x="23" y="84"/>
                    </a:lnTo>
                    <a:lnTo>
                      <a:pt x="9" y="7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24" name="Freeform 261">
                <a:extLst>
                  <a:ext uri="{FF2B5EF4-FFF2-40B4-BE49-F238E27FC236}">
                    <a16:creationId xmlns:a16="http://schemas.microsoft.com/office/drawing/2014/main" id="{BCE2D763-450B-4308-B77A-D5D9D961C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6" y="1579"/>
                <a:ext cx="171" cy="338"/>
              </a:xfrm>
              <a:custGeom>
                <a:avLst/>
                <a:gdLst>
                  <a:gd name="T0" fmla="*/ 0 w 153"/>
                  <a:gd name="T1" fmla="*/ 234 h 301"/>
                  <a:gd name="T2" fmla="*/ 5 w 153"/>
                  <a:gd name="T3" fmla="*/ 225 h 301"/>
                  <a:gd name="T4" fmla="*/ 9 w 153"/>
                  <a:gd name="T5" fmla="*/ 206 h 301"/>
                  <a:gd name="T6" fmla="*/ 24 w 153"/>
                  <a:gd name="T7" fmla="*/ 199 h 301"/>
                  <a:gd name="T8" fmla="*/ 20 w 153"/>
                  <a:gd name="T9" fmla="*/ 182 h 301"/>
                  <a:gd name="T10" fmla="*/ 13 w 153"/>
                  <a:gd name="T11" fmla="*/ 166 h 301"/>
                  <a:gd name="T12" fmla="*/ 9 w 153"/>
                  <a:gd name="T13" fmla="*/ 150 h 301"/>
                  <a:gd name="T14" fmla="*/ 6 w 153"/>
                  <a:gd name="T15" fmla="*/ 123 h 301"/>
                  <a:gd name="T16" fmla="*/ 9 w 153"/>
                  <a:gd name="T17" fmla="*/ 113 h 301"/>
                  <a:gd name="T18" fmla="*/ 24 w 153"/>
                  <a:gd name="T19" fmla="*/ 116 h 301"/>
                  <a:gd name="T20" fmla="*/ 31 w 153"/>
                  <a:gd name="T21" fmla="*/ 111 h 301"/>
                  <a:gd name="T22" fmla="*/ 21 w 153"/>
                  <a:gd name="T23" fmla="*/ 104 h 301"/>
                  <a:gd name="T24" fmla="*/ 28 w 153"/>
                  <a:gd name="T25" fmla="*/ 90 h 301"/>
                  <a:gd name="T26" fmla="*/ 31 w 153"/>
                  <a:gd name="T27" fmla="*/ 72 h 301"/>
                  <a:gd name="T28" fmla="*/ 37 w 153"/>
                  <a:gd name="T29" fmla="*/ 68 h 301"/>
                  <a:gd name="T30" fmla="*/ 42 w 153"/>
                  <a:gd name="T31" fmla="*/ 57 h 301"/>
                  <a:gd name="T32" fmla="*/ 51 w 153"/>
                  <a:gd name="T33" fmla="*/ 57 h 301"/>
                  <a:gd name="T34" fmla="*/ 53 w 153"/>
                  <a:gd name="T35" fmla="*/ 43 h 301"/>
                  <a:gd name="T36" fmla="*/ 61 w 153"/>
                  <a:gd name="T37" fmla="*/ 39 h 301"/>
                  <a:gd name="T38" fmla="*/ 63 w 153"/>
                  <a:gd name="T39" fmla="*/ 26 h 301"/>
                  <a:gd name="T40" fmla="*/ 71 w 153"/>
                  <a:gd name="T41" fmla="*/ 29 h 301"/>
                  <a:gd name="T42" fmla="*/ 79 w 153"/>
                  <a:gd name="T43" fmla="*/ 25 h 301"/>
                  <a:gd name="T44" fmla="*/ 87 w 153"/>
                  <a:gd name="T45" fmla="*/ 17 h 301"/>
                  <a:gd name="T46" fmla="*/ 97 w 153"/>
                  <a:gd name="T47" fmla="*/ 17 h 301"/>
                  <a:gd name="T48" fmla="*/ 110 w 153"/>
                  <a:gd name="T49" fmla="*/ 17 h 301"/>
                  <a:gd name="T50" fmla="*/ 118 w 153"/>
                  <a:gd name="T51" fmla="*/ 8 h 301"/>
                  <a:gd name="T52" fmla="*/ 127 w 153"/>
                  <a:gd name="T53" fmla="*/ 0 h 301"/>
                  <a:gd name="T54" fmla="*/ 138 w 153"/>
                  <a:gd name="T55" fmla="*/ 13 h 301"/>
                  <a:gd name="T56" fmla="*/ 149 w 153"/>
                  <a:gd name="T57" fmla="*/ 23 h 301"/>
                  <a:gd name="T58" fmla="*/ 150 w 153"/>
                  <a:gd name="T59" fmla="*/ 32 h 301"/>
                  <a:gd name="T60" fmla="*/ 152 w 153"/>
                  <a:gd name="T61" fmla="*/ 63 h 301"/>
                  <a:gd name="T62" fmla="*/ 142 w 153"/>
                  <a:gd name="T63" fmla="*/ 70 h 301"/>
                  <a:gd name="T64" fmla="*/ 131 w 153"/>
                  <a:gd name="T65" fmla="*/ 79 h 301"/>
                  <a:gd name="T66" fmla="*/ 127 w 153"/>
                  <a:gd name="T67" fmla="*/ 96 h 301"/>
                  <a:gd name="T68" fmla="*/ 127 w 153"/>
                  <a:gd name="T69" fmla="*/ 107 h 301"/>
                  <a:gd name="T70" fmla="*/ 112 w 153"/>
                  <a:gd name="T71" fmla="*/ 117 h 301"/>
                  <a:gd name="T72" fmla="*/ 104 w 153"/>
                  <a:gd name="T73" fmla="*/ 128 h 301"/>
                  <a:gd name="T74" fmla="*/ 84 w 153"/>
                  <a:gd name="T75" fmla="*/ 132 h 301"/>
                  <a:gd name="T76" fmla="*/ 76 w 153"/>
                  <a:gd name="T77" fmla="*/ 148 h 301"/>
                  <a:gd name="T78" fmla="*/ 76 w 153"/>
                  <a:gd name="T79" fmla="*/ 176 h 301"/>
                  <a:gd name="T80" fmla="*/ 87 w 153"/>
                  <a:gd name="T81" fmla="*/ 189 h 301"/>
                  <a:gd name="T82" fmla="*/ 93 w 153"/>
                  <a:gd name="T83" fmla="*/ 200 h 301"/>
                  <a:gd name="T84" fmla="*/ 69 w 153"/>
                  <a:gd name="T85" fmla="*/ 211 h 301"/>
                  <a:gd name="T86" fmla="*/ 80 w 153"/>
                  <a:gd name="T87" fmla="*/ 211 h 301"/>
                  <a:gd name="T88" fmla="*/ 87 w 153"/>
                  <a:gd name="T89" fmla="*/ 217 h 301"/>
                  <a:gd name="T90" fmla="*/ 90 w 153"/>
                  <a:gd name="T91" fmla="*/ 228 h 301"/>
                  <a:gd name="T92" fmla="*/ 82 w 153"/>
                  <a:gd name="T93" fmla="*/ 234 h 301"/>
                  <a:gd name="T94" fmla="*/ 71 w 153"/>
                  <a:gd name="T95" fmla="*/ 245 h 301"/>
                  <a:gd name="T96" fmla="*/ 71 w 153"/>
                  <a:gd name="T97" fmla="*/ 265 h 301"/>
                  <a:gd name="T98" fmla="*/ 60 w 153"/>
                  <a:gd name="T99" fmla="*/ 272 h 301"/>
                  <a:gd name="T100" fmla="*/ 57 w 153"/>
                  <a:gd name="T101" fmla="*/ 283 h 301"/>
                  <a:gd name="T102" fmla="*/ 45 w 153"/>
                  <a:gd name="T103" fmla="*/ 290 h 301"/>
                  <a:gd name="T104" fmla="*/ 39 w 153"/>
                  <a:gd name="T105" fmla="*/ 300 h 301"/>
                  <a:gd name="T106" fmla="*/ 23 w 153"/>
                  <a:gd name="T107" fmla="*/ 294 h 301"/>
                  <a:gd name="T108" fmla="*/ 24 w 153"/>
                  <a:gd name="T109" fmla="*/ 275 h 301"/>
                  <a:gd name="T110" fmla="*/ 15 w 153"/>
                  <a:gd name="T111" fmla="*/ 272 h 301"/>
                  <a:gd name="T112" fmla="*/ 13 w 153"/>
                  <a:gd name="T113" fmla="*/ 261 h 301"/>
                  <a:gd name="T114" fmla="*/ 6 w 153"/>
                  <a:gd name="T115" fmla="*/ 247 h 301"/>
                  <a:gd name="T116" fmla="*/ 0 w 153"/>
                  <a:gd name="T117" fmla="*/ 234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3" h="301">
                    <a:moveTo>
                      <a:pt x="0" y="234"/>
                    </a:moveTo>
                    <a:lnTo>
                      <a:pt x="5" y="225"/>
                    </a:lnTo>
                    <a:lnTo>
                      <a:pt x="9" y="206"/>
                    </a:lnTo>
                    <a:lnTo>
                      <a:pt x="24" y="199"/>
                    </a:lnTo>
                    <a:lnTo>
                      <a:pt x="20" y="182"/>
                    </a:lnTo>
                    <a:lnTo>
                      <a:pt x="13" y="166"/>
                    </a:lnTo>
                    <a:lnTo>
                      <a:pt x="9" y="150"/>
                    </a:lnTo>
                    <a:lnTo>
                      <a:pt x="6" y="123"/>
                    </a:lnTo>
                    <a:lnTo>
                      <a:pt x="9" y="113"/>
                    </a:lnTo>
                    <a:lnTo>
                      <a:pt x="24" y="116"/>
                    </a:lnTo>
                    <a:lnTo>
                      <a:pt x="31" y="111"/>
                    </a:lnTo>
                    <a:lnTo>
                      <a:pt x="21" y="104"/>
                    </a:lnTo>
                    <a:lnTo>
                      <a:pt x="28" y="90"/>
                    </a:lnTo>
                    <a:lnTo>
                      <a:pt x="31" y="72"/>
                    </a:lnTo>
                    <a:lnTo>
                      <a:pt x="37" y="68"/>
                    </a:lnTo>
                    <a:lnTo>
                      <a:pt x="42" y="57"/>
                    </a:lnTo>
                    <a:lnTo>
                      <a:pt x="51" y="57"/>
                    </a:lnTo>
                    <a:lnTo>
                      <a:pt x="53" y="43"/>
                    </a:lnTo>
                    <a:lnTo>
                      <a:pt x="61" y="39"/>
                    </a:lnTo>
                    <a:lnTo>
                      <a:pt x="63" y="26"/>
                    </a:lnTo>
                    <a:lnTo>
                      <a:pt x="71" y="29"/>
                    </a:lnTo>
                    <a:lnTo>
                      <a:pt x="79" y="25"/>
                    </a:lnTo>
                    <a:lnTo>
                      <a:pt x="87" y="17"/>
                    </a:lnTo>
                    <a:lnTo>
                      <a:pt x="97" y="17"/>
                    </a:lnTo>
                    <a:lnTo>
                      <a:pt x="110" y="17"/>
                    </a:lnTo>
                    <a:lnTo>
                      <a:pt x="118" y="8"/>
                    </a:lnTo>
                    <a:lnTo>
                      <a:pt x="127" y="0"/>
                    </a:lnTo>
                    <a:lnTo>
                      <a:pt x="138" y="13"/>
                    </a:lnTo>
                    <a:lnTo>
                      <a:pt x="149" y="23"/>
                    </a:lnTo>
                    <a:lnTo>
                      <a:pt x="150" y="32"/>
                    </a:lnTo>
                    <a:lnTo>
                      <a:pt x="152" y="63"/>
                    </a:lnTo>
                    <a:lnTo>
                      <a:pt x="142" y="70"/>
                    </a:lnTo>
                    <a:lnTo>
                      <a:pt x="131" y="79"/>
                    </a:lnTo>
                    <a:lnTo>
                      <a:pt x="127" y="96"/>
                    </a:lnTo>
                    <a:lnTo>
                      <a:pt x="127" y="107"/>
                    </a:lnTo>
                    <a:lnTo>
                      <a:pt x="112" y="117"/>
                    </a:lnTo>
                    <a:lnTo>
                      <a:pt x="104" y="128"/>
                    </a:lnTo>
                    <a:lnTo>
                      <a:pt x="84" y="132"/>
                    </a:lnTo>
                    <a:lnTo>
                      <a:pt x="76" y="148"/>
                    </a:lnTo>
                    <a:lnTo>
                      <a:pt x="76" y="176"/>
                    </a:lnTo>
                    <a:lnTo>
                      <a:pt x="87" y="189"/>
                    </a:lnTo>
                    <a:lnTo>
                      <a:pt x="93" y="200"/>
                    </a:lnTo>
                    <a:lnTo>
                      <a:pt x="69" y="211"/>
                    </a:lnTo>
                    <a:lnTo>
                      <a:pt x="80" y="211"/>
                    </a:lnTo>
                    <a:lnTo>
                      <a:pt x="87" y="217"/>
                    </a:lnTo>
                    <a:lnTo>
                      <a:pt x="90" y="228"/>
                    </a:lnTo>
                    <a:lnTo>
                      <a:pt x="82" y="234"/>
                    </a:lnTo>
                    <a:lnTo>
                      <a:pt x="71" y="245"/>
                    </a:lnTo>
                    <a:lnTo>
                      <a:pt x="71" y="265"/>
                    </a:lnTo>
                    <a:lnTo>
                      <a:pt x="60" y="272"/>
                    </a:lnTo>
                    <a:lnTo>
                      <a:pt x="57" y="283"/>
                    </a:lnTo>
                    <a:lnTo>
                      <a:pt x="45" y="290"/>
                    </a:lnTo>
                    <a:lnTo>
                      <a:pt x="39" y="300"/>
                    </a:lnTo>
                    <a:lnTo>
                      <a:pt x="23" y="294"/>
                    </a:lnTo>
                    <a:lnTo>
                      <a:pt x="24" y="275"/>
                    </a:lnTo>
                    <a:lnTo>
                      <a:pt x="15" y="272"/>
                    </a:lnTo>
                    <a:lnTo>
                      <a:pt x="13" y="261"/>
                    </a:lnTo>
                    <a:lnTo>
                      <a:pt x="6" y="247"/>
                    </a:lnTo>
                    <a:lnTo>
                      <a:pt x="0" y="234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25" name="Freeform 262">
                <a:extLst>
                  <a:ext uri="{FF2B5EF4-FFF2-40B4-BE49-F238E27FC236}">
                    <a16:creationId xmlns:a16="http://schemas.microsoft.com/office/drawing/2014/main" id="{BE19FF60-3224-4671-B9D3-B0754DD1D3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1" y="2087"/>
                <a:ext cx="132" cy="96"/>
              </a:xfrm>
              <a:custGeom>
                <a:avLst/>
                <a:gdLst>
                  <a:gd name="T0" fmla="*/ 42 w 118"/>
                  <a:gd name="T1" fmla="*/ 68 h 85"/>
                  <a:gd name="T2" fmla="*/ 33 w 118"/>
                  <a:gd name="T3" fmla="*/ 61 h 85"/>
                  <a:gd name="T4" fmla="*/ 20 w 118"/>
                  <a:gd name="T5" fmla="*/ 53 h 85"/>
                  <a:gd name="T6" fmla="*/ 4 w 118"/>
                  <a:gd name="T7" fmla="*/ 45 h 85"/>
                  <a:gd name="T8" fmla="*/ 0 w 118"/>
                  <a:gd name="T9" fmla="*/ 31 h 85"/>
                  <a:gd name="T10" fmla="*/ 14 w 118"/>
                  <a:gd name="T11" fmla="*/ 27 h 85"/>
                  <a:gd name="T12" fmla="*/ 25 w 118"/>
                  <a:gd name="T13" fmla="*/ 10 h 85"/>
                  <a:gd name="T14" fmla="*/ 31 w 118"/>
                  <a:gd name="T15" fmla="*/ 1 h 85"/>
                  <a:gd name="T16" fmla="*/ 51 w 118"/>
                  <a:gd name="T17" fmla="*/ 0 h 85"/>
                  <a:gd name="T18" fmla="*/ 59 w 118"/>
                  <a:gd name="T19" fmla="*/ 6 h 85"/>
                  <a:gd name="T20" fmla="*/ 80 w 118"/>
                  <a:gd name="T21" fmla="*/ 8 h 85"/>
                  <a:gd name="T22" fmla="*/ 88 w 118"/>
                  <a:gd name="T23" fmla="*/ 4 h 85"/>
                  <a:gd name="T24" fmla="*/ 108 w 118"/>
                  <a:gd name="T25" fmla="*/ 24 h 85"/>
                  <a:gd name="T26" fmla="*/ 109 w 118"/>
                  <a:gd name="T27" fmla="*/ 41 h 85"/>
                  <a:gd name="T28" fmla="*/ 117 w 118"/>
                  <a:gd name="T29" fmla="*/ 59 h 85"/>
                  <a:gd name="T30" fmla="*/ 115 w 118"/>
                  <a:gd name="T31" fmla="*/ 69 h 85"/>
                  <a:gd name="T32" fmla="*/ 104 w 118"/>
                  <a:gd name="T33" fmla="*/ 79 h 85"/>
                  <a:gd name="T34" fmla="*/ 91 w 118"/>
                  <a:gd name="T35" fmla="*/ 81 h 85"/>
                  <a:gd name="T36" fmla="*/ 70 w 118"/>
                  <a:gd name="T37" fmla="*/ 84 h 85"/>
                  <a:gd name="T38" fmla="*/ 66 w 118"/>
                  <a:gd name="T39" fmla="*/ 71 h 85"/>
                  <a:gd name="T40" fmla="*/ 50 w 118"/>
                  <a:gd name="T41" fmla="*/ 65 h 85"/>
                  <a:gd name="T42" fmla="*/ 46 w 118"/>
                  <a:gd name="T43" fmla="*/ 71 h 85"/>
                  <a:gd name="T44" fmla="*/ 42 w 118"/>
                  <a:gd name="T45" fmla="*/ 6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8" h="85">
                    <a:moveTo>
                      <a:pt x="42" y="68"/>
                    </a:moveTo>
                    <a:lnTo>
                      <a:pt x="33" y="61"/>
                    </a:lnTo>
                    <a:lnTo>
                      <a:pt x="20" y="53"/>
                    </a:lnTo>
                    <a:lnTo>
                      <a:pt x="4" y="45"/>
                    </a:lnTo>
                    <a:lnTo>
                      <a:pt x="0" y="31"/>
                    </a:lnTo>
                    <a:lnTo>
                      <a:pt x="14" y="27"/>
                    </a:lnTo>
                    <a:lnTo>
                      <a:pt x="25" y="10"/>
                    </a:lnTo>
                    <a:lnTo>
                      <a:pt x="31" y="1"/>
                    </a:lnTo>
                    <a:lnTo>
                      <a:pt x="51" y="0"/>
                    </a:lnTo>
                    <a:lnTo>
                      <a:pt x="59" y="6"/>
                    </a:lnTo>
                    <a:lnTo>
                      <a:pt x="80" y="8"/>
                    </a:lnTo>
                    <a:lnTo>
                      <a:pt x="88" y="4"/>
                    </a:lnTo>
                    <a:lnTo>
                      <a:pt x="108" y="24"/>
                    </a:lnTo>
                    <a:lnTo>
                      <a:pt x="109" y="41"/>
                    </a:lnTo>
                    <a:lnTo>
                      <a:pt x="117" y="59"/>
                    </a:lnTo>
                    <a:lnTo>
                      <a:pt x="115" y="69"/>
                    </a:lnTo>
                    <a:lnTo>
                      <a:pt x="104" y="79"/>
                    </a:lnTo>
                    <a:lnTo>
                      <a:pt x="91" y="81"/>
                    </a:lnTo>
                    <a:lnTo>
                      <a:pt x="70" y="84"/>
                    </a:lnTo>
                    <a:lnTo>
                      <a:pt x="66" y="71"/>
                    </a:lnTo>
                    <a:lnTo>
                      <a:pt x="50" y="65"/>
                    </a:lnTo>
                    <a:lnTo>
                      <a:pt x="46" y="71"/>
                    </a:lnTo>
                    <a:lnTo>
                      <a:pt x="42" y="68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26" name="Freeform 263">
                <a:extLst>
                  <a:ext uri="{FF2B5EF4-FFF2-40B4-BE49-F238E27FC236}">
                    <a16:creationId xmlns:a16="http://schemas.microsoft.com/office/drawing/2014/main" id="{1FDC44DE-8E55-446A-AF4A-8DDC9CD4AD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4" y="2208"/>
                <a:ext cx="296" cy="131"/>
              </a:xfrm>
              <a:custGeom>
                <a:avLst/>
                <a:gdLst>
                  <a:gd name="T0" fmla="*/ 134 w 265"/>
                  <a:gd name="T1" fmla="*/ 111 h 118"/>
                  <a:gd name="T2" fmla="*/ 146 w 265"/>
                  <a:gd name="T3" fmla="*/ 108 h 118"/>
                  <a:gd name="T4" fmla="*/ 168 w 265"/>
                  <a:gd name="T5" fmla="*/ 106 h 118"/>
                  <a:gd name="T6" fmla="*/ 184 w 265"/>
                  <a:gd name="T7" fmla="*/ 106 h 118"/>
                  <a:gd name="T8" fmla="*/ 204 w 265"/>
                  <a:gd name="T9" fmla="*/ 102 h 118"/>
                  <a:gd name="T10" fmla="*/ 209 w 265"/>
                  <a:gd name="T11" fmla="*/ 117 h 118"/>
                  <a:gd name="T12" fmla="*/ 218 w 265"/>
                  <a:gd name="T13" fmla="*/ 108 h 118"/>
                  <a:gd name="T14" fmla="*/ 227 w 265"/>
                  <a:gd name="T15" fmla="*/ 99 h 118"/>
                  <a:gd name="T16" fmla="*/ 241 w 265"/>
                  <a:gd name="T17" fmla="*/ 96 h 118"/>
                  <a:gd name="T18" fmla="*/ 247 w 265"/>
                  <a:gd name="T19" fmla="*/ 106 h 118"/>
                  <a:gd name="T20" fmla="*/ 264 w 265"/>
                  <a:gd name="T21" fmla="*/ 107 h 118"/>
                  <a:gd name="T22" fmla="*/ 261 w 265"/>
                  <a:gd name="T23" fmla="*/ 88 h 118"/>
                  <a:gd name="T24" fmla="*/ 253 w 265"/>
                  <a:gd name="T25" fmla="*/ 69 h 118"/>
                  <a:gd name="T26" fmla="*/ 247 w 265"/>
                  <a:gd name="T27" fmla="*/ 50 h 118"/>
                  <a:gd name="T28" fmla="*/ 252 w 265"/>
                  <a:gd name="T29" fmla="*/ 44 h 118"/>
                  <a:gd name="T30" fmla="*/ 241 w 265"/>
                  <a:gd name="T31" fmla="*/ 32 h 118"/>
                  <a:gd name="T32" fmla="*/ 228 w 265"/>
                  <a:gd name="T33" fmla="*/ 12 h 118"/>
                  <a:gd name="T34" fmla="*/ 210 w 265"/>
                  <a:gd name="T35" fmla="*/ 14 h 118"/>
                  <a:gd name="T36" fmla="*/ 202 w 265"/>
                  <a:gd name="T37" fmla="*/ 23 h 118"/>
                  <a:gd name="T38" fmla="*/ 173 w 265"/>
                  <a:gd name="T39" fmla="*/ 25 h 118"/>
                  <a:gd name="T40" fmla="*/ 161 w 265"/>
                  <a:gd name="T41" fmla="*/ 26 h 118"/>
                  <a:gd name="T42" fmla="*/ 146 w 265"/>
                  <a:gd name="T43" fmla="*/ 19 h 118"/>
                  <a:gd name="T44" fmla="*/ 135 w 265"/>
                  <a:gd name="T45" fmla="*/ 19 h 118"/>
                  <a:gd name="T46" fmla="*/ 125 w 265"/>
                  <a:gd name="T47" fmla="*/ 7 h 118"/>
                  <a:gd name="T48" fmla="*/ 112 w 265"/>
                  <a:gd name="T49" fmla="*/ 0 h 118"/>
                  <a:gd name="T50" fmla="*/ 98 w 265"/>
                  <a:gd name="T51" fmla="*/ 7 h 118"/>
                  <a:gd name="T52" fmla="*/ 78 w 265"/>
                  <a:gd name="T53" fmla="*/ 9 h 118"/>
                  <a:gd name="T54" fmla="*/ 64 w 265"/>
                  <a:gd name="T55" fmla="*/ 14 h 118"/>
                  <a:gd name="T56" fmla="*/ 45 w 265"/>
                  <a:gd name="T57" fmla="*/ 15 h 118"/>
                  <a:gd name="T58" fmla="*/ 34 w 265"/>
                  <a:gd name="T59" fmla="*/ 15 h 118"/>
                  <a:gd name="T60" fmla="*/ 19 w 265"/>
                  <a:gd name="T61" fmla="*/ 21 h 118"/>
                  <a:gd name="T62" fmla="*/ 29 w 265"/>
                  <a:gd name="T63" fmla="*/ 26 h 118"/>
                  <a:gd name="T64" fmla="*/ 18 w 265"/>
                  <a:gd name="T65" fmla="*/ 32 h 118"/>
                  <a:gd name="T66" fmla="*/ 14 w 265"/>
                  <a:gd name="T67" fmla="*/ 39 h 118"/>
                  <a:gd name="T68" fmla="*/ 5 w 265"/>
                  <a:gd name="T69" fmla="*/ 48 h 118"/>
                  <a:gd name="T70" fmla="*/ 3 w 265"/>
                  <a:gd name="T71" fmla="*/ 56 h 118"/>
                  <a:gd name="T72" fmla="*/ 0 w 265"/>
                  <a:gd name="T73" fmla="*/ 63 h 118"/>
                  <a:gd name="T74" fmla="*/ 7 w 265"/>
                  <a:gd name="T75" fmla="*/ 65 h 118"/>
                  <a:gd name="T76" fmla="*/ 6 w 265"/>
                  <a:gd name="T77" fmla="*/ 74 h 118"/>
                  <a:gd name="T78" fmla="*/ 11 w 265"/>
                  <a:gd name="T79" fmla="*/ 78 h 118"/>
                  <a:gd name="T80" fmla="*/ 11 w 265"/>
                  <a:gd name="T81" fmla="*/ 88 h 118"/>
                  <a:gd name="T82" fmla="*/ 16 w 265"/>
                  <a:gd name="T83" fmla="*/ 95 h 118"/>
                  <a:gd name="T84" fmla="*/ 22 w 265"/>
                  <a:gd name="T85" fmla="*/ 94 h 118"/>
                  <a:gd name="T86" fmla="*/ 24 w 265"/>
                  <a:gd name="T87" fmla="*/ 101 h 118"/>
                  <a:gd name="T88" fmla="*/ 36 w 265"/>
                  <a:gd name="T89" fmla="*/ 105 h 118"/>
                  <a:gd name="T90" fmla="*/ 44 w 265"/>
                  <a:gd name="T91" fmla="*/ 114 h 118"/>
                  <a:gd name="T92" fmla="*/ 54 w 265"/>
                  <a:gd name="T93" fmla="*/ 111 h 118"/>
                  <a:gd name="T94" fmla="*/ 60 w 265"/>
                  <a:gd name="T95" fmla="*/ 107 h 118"/>
                  <a:gd name="T96" fmla="*/ 68 w 265"/>
                  <a:gd name="T97" fmla="*/ 100 h 118"/>
                  <a:gd name="T98" fmla="*/ 84 w 265"/>
                  <a:gd name="T99" fmla="*/ 111 h 118"/>
                  <a:gd name="T100" fmla="*/ 102 w 265"/>
                  <a:gd name="T101" fmla="*/ 113 h 118"/>
                  <a:gd name="T102" fmla="*/ 121 w 265"/>
                  <a:gd name="T103" fmla="*/ 110 h 118"/>
                  <a:gd name="T104" fmla="*/ 129 w 265"/>
                  <a:gd name="T105" fmla="*/ 110 h 118"/>
                  <a:gd name="T106" fmla="*/ 134 w 265"/>
                  <a:gd name="T107" fmla="*/ 111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65" h="118">
                    <a:moveTo>
                      <a:pt x="134" y="111"/>
                    </a:moveTo>
                    <a:lnTo>
                      <a:pt x="146" y="108"/>
                    </a:lnTo>
                    <a:lnTo>
                      <a:pt x="168" y="106"/>
                    </a:lnTo>
                    <a:lnTo>
                      <a:pt x="184" y="106"/>
                    </a:lnTo>
                    <a:lnTo>
                      <a:pt x="204" y="102"/>
                    </a:lnTo>
                    <a:lnTo>
                      <a:pt x="209" y="117"/>
                    </a:lnTo>
                    <a:lnTo>
                      <a:pt x="218" y="108"/>
                    </a:lnTo>
                    <a:lnTo>
                      <a:pt x="227" y="99"/>
                    </a:lnTo>
                    <a:lnTo>
                      <a:pt x="241" y="96"/>
                    </a:lnTo>
                    <a:lnTo>
                      <a:pt x="247" y="106"/>
                    </a:lnTo>
                    <a:lnTo>
                      <a:pt x="264" y="107"/>
                    </a:lnTo>
                    <a:lnTo>
                      <a:pt x="261" y="88"/>
                    </a:lnTo>
                    <a:lnTo>
                      <a:pt x="253" y="69"/>
                    </a:lnTo>
                    <a:lnTo>
                      <a:pt x="247" y="50"/>
                    </a:lnTo>
                    <a:lnTo>
                      <a:pt x="252" y="44"/>
                    </a:lnTo>
                    <a:lnTo>
                      <a:pt x="241" y="32"/>
                    </a:lnTo>
                    <a:lnTo>
                      <a:pt x="228" y="12"/>
                    </a:lnTo>
                    <a:lnTo>
                      <a:pt x="210" y="14"/>
                    </a:lnTo>
                    <a:lnTo>
                      <a:pt x="202" y="23"/>
                    </a:lnTo>
                    <a:lnTo>
                      <a:pt x="173" y="25"/>
                    </a:lnTo>
                    <a:lnTo>
                      <a:pt x="161" y="26"/>
                    </a:lnTo>
                    <a:lnTo>
                      <a:pt x="146" y="19"/>
                    </a:lnTo>
                    <a:lnTo>
                      <a:pt x="135" y="19"/>
                    </a:lnTo>
                    <a:lnTo>
                      <a:pt x="125" y="7"/>
                    </a:lnTo>
                    <a:lnTo>
                      <a:pt x="112" y="0"/>
                    </a:lnTo>
                    <a:lnTo>
                      <a:pt x="98" y="7"/>
                    </a:lnTo>
                    <a:lnTo>
                      <a:pt x="78" y="9"/>
                    </a:lnTo>
                    <a:lnTo>
                      <a:pt x="64" y="14"/>
                    </a:lnTo>
                    <a:lnTo>
                      <a:pt x="45" y="15"/>
                    </a:lnTo>
                    <a:lnTo>
                      <a:pt x="34" y="15"/>
                    </a:lnTo>
                    <a:lnTo>
                      <a:pt x="19" y="21"/>
                    </a:lnTo>
                    <a:lnTo>
                      <a:pt x="29" y="26"/>
                    </a:lnTo>
                    <a:lnTo>
                      <a:pt x="18" y="32"/>
                    </a:lnTo>
                    <a:lnTo>
                      <a:pt x="14" y="39"/>
                    </a:lnTo>
                    <a:lnTo>
                      <a:pt x="5" y="48"/>
                    </a:lnTo>
                    <a:lnTo>
                      <a:pt x="3" y="56"/>
                    </a:lnTo>
                    <a:lnTo>
                      <a:pt x="0" y="63"/>
                    </a:lnTo>
                    <a:lnTo>
                      <a:pt x="7" y="65"/>
                    </a:lnTo>
                    <a:lnTo>
                      <a:pt x="6" y="74"/>
                    </a:lnTo>
                    <a:lnTo>
                      <a:pt x="11" y="78"/>
                    </a:lnTo>
                    <a:lnTo>
                      <a:pt x="11" y="88"/>
                    </a:lnTo>
                    <a:lnTo>
                      <a:pt x="16" y="95"/>
                    </a:lnTo>
                    <a:lnTo>
                      <a:pt x="22" y="94"/>
                    </a:lnTo>
                    <a:lnTo>
                      <a:pt x="24" y="101"/>
                    </a:lnTo>
                    <a:lnTo>
                      <a:pt x="36" y="105"/>
                    </a:lnTo>
                    <a:lnTo>
                      <a:pt x="44" y="114"/>
                    </a:lnTo>
                    <a:lnTo>
                      <a:pt x="54" y="111"/>
                    </a:lnTo>
                    <a:lnTo>
                      <a:pt x="60" y="107"/>
                    </a:lnTo>
                    <a:lnTo>
                      <a:pt x="68" y="100"/>
                    </a:lnTo>
                    <a:lnTo>
                      <a:pt x="84" y="111"/>
                    </a:lnTo>
                    <a:lnTo>
                      <a:pt x="102" y="113"/>
                    </a:lnTo>
                    <a:lnTo>
                      <a:pt x="121" y="110"/>
                    </a:lnTo>
                    <a:lnTo>
                      <a:pt x="129" y="110"/>
                    </a:lnTo>
                    <a:lnTo>
                      <a:pt x="134" y="111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27" name="Freeform 264">
                <a:extLst>
                  <a:ext uri="{FF2B5EF4-FFF2-40B4-BE49-F238E27FC236}">
                    <a16:creationId xmlns:a16="http://schemas.microsoft.com/office/drawing/2014/main" id="{5440C1BE-6BF1-4399-8B01-A17745D057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5" y="2116"/>
                <a:ext cx="154" cy="122"/>
              </a:xfrm>
              <a:custGeom>
                <a:avLst/>
                <a:gdLst>
                  <a:gd name="T0" fmla="*/ 12 w 137"/>
                  <a:gd name="T1" fmla="*/ 18 h 109"/>
                  <a:gd name="T2" fmla="*/ 3 w 137"/>
                  <a:gd name="T3" fmla="*/ 12 h 109"/>
                  <a:gd name="T4" fmla="*/ 0 w 137"/>
                  <a:gd name="T5" fmla="*/ 0 h 109"/>
                  <a:gd name="T6" fmla="*/ 24 w 137"/>
                  <a:gd name="T7" fmla="*/ 6 h 109"/>
                  <a:gd name="T8" fmla="*/ 37 w 137"/>
                  <a:gd name="T9" fmla="*/ 0 h 109"/>
                  <a:gd name="T10" fmla="*/ 43 w 137"/>
                  <a:gd name="T11" fmla="*/ 2 h 109"/>
                  <a:gd name="T12" fmla="*/ 58 w 137"/>
                  <a:gd name="T13" fmla="*/ 10 h 109"/>
                  <a:gd name="T14" fmla="*/ 75 w 137"/>
                  <a:gd name="T15" fmla="*/ 14 h 109"/>
                  <a:gd name="T16" fmla="*/ 84 w 137"/>
                  <a:gd name="T17" fmla="*/ 6 h 109"/>
                  <a:gd name="T18" fmla="*/ 95 w 137"/>
                  <a:gd name="T19" fmla="*/ 7 h 109"/>
                  <a:gd name="T20" fmla="*/ 99 w 137"/>
                  <a:gd name="T21" fmla="*/ 20 h 109"/>
                  <a:gd name="T22" fmla="*/ 114 w 137"/>
                  <a:gd name="T23" fmla="*/ 29 h 109"/>
                  <a:gd name="T24" fmla="*/ 128 w 137"/>
                  <a:gd name="T25" fmla="*/ 36 h 109"/>
                  <a:gd name="T26" fmla="*/ 136 w 137"/>
                  <a:gd name="T27" fmla="*/ 43 h 109"/>
                  <a:gd name="T28" fmla="*/ 123 w 137"/>
                  <a:gd name="T29" fmla="*/ 53 h 109"/>
                  <a:gd name="T30" fmla="*/ 124 w 137"/>
                  <a:gd name="T31" fmla="*/ 62 h 109"/>
                  <a:gd name="T32" fmla="*/ 132 w 137"/>
                  <a:gd name="T33" fmla="*/ 76 h 109"/>
                  <a:gd name="T34" fmla="*/ 134 w 137"/>
                  <a:gd name="T35" fmla="*/ 97 h 109"/>
                  <a:gd name="T36" fmla="*/ 120 w 137"/>
                  <a:gd name="T37" fmla="*/ 108 h 109"/>
                  <a:gd name="T38" fmla="*/ 109 w 137"/>
                  <a:gd name="T39" fmla="*/ 105 h 109"/>
                  <a:gd name="T40" fmla="*/ 106 w 137"/>
                  <a:gd name="T41" fmla="*/ 90 h 109"/>
                  <a:gd name="T42" fmla="*/ 98 w 137"/>
                  <a:gd name="T43" fmla="*/ 77 h 109"/>
                  <a:gd name="T44" fmla="*/ 90 w 137"/>
                  <a:gd name="T45" fmla="*/ 80 h 109"/>
                  <a:gd name="T46" fmla="*/ 92 w 137"/>
                  <a:gd name="T47" fmla="*/ 91 h 109"/>
                  <a:gd name="T48" fmla="*/ 79 w 137"/>
                  <a:gd name="T49" fmla="*/ 88 h 109"/>
                  <a:gd name="T50" fmla="*/ 68 w 137"/>
                  <a:gd name="T51" fmla="*/ 80 h 109"/>
                  <a:gd name="T52" fmla="*/ 58 w 137"/>
                  <a:gd name="T53" fmla="*/ 68 h 109"/>
                  <a:gd name="T54" fmla="*/ 49 w 137"/>
                  <a:gd name="T55" fmla="*/ 62 h 109"/>
                  <a:gd name="T56" fmla="*/ 34 w 137"/>
                  <a:gd name="T57" fmla="*/ 56 h 109"/>
                  <a:gd name="T58" fmla="*/ 34 w 137"/>
                  <a:gd name="T59" fmla="*/ 46 h 109"/>
                  <a:gd name="T60" fmla="*/ 21 w 137"/>
                  <a:gd name="T61" fmla="*/ 38 h 109"/>
                  <a:gd name="T62" fmla="*/ 17 w 137"/>
                  <a:gd name="T63" fmla="*/ 21 h 109"/>
                  <a:gd name="T64" fmla="*/ 12 w 137"/>
                  <a:gd name="T65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7" h="109">
                    <a:moveTo>
                      <a:pt x="12" y="18"/>
                    </a:moveTo>
                    <a:lnTo>
                      <a:pt x="3" y="12"/>
                    </a:lnTo>
                    <a:lnTo>
                      <a:pt x="0" y="0"/>
                    </a:lnTo>
                    <a:lnTo>
                      <a:pt x="24" y="6"/>
                    </a:lnTo>
                    <a:lnTo>
                      <a:pt x="37" y="0"/>
                    </a:lnTo>
                    <a:lnTo>
                      <a:pt x="43" y="2"/>
                    </a:lnTo>
                    <a:lnTo>
                      <a:pt x="58" y="10"/>
                    </a:lnTo>
                    <a:lnTo>
                      <a:pt x="75" y="14"/>
                    </a:lnTo>
                    <a:lnTo>
                      <a:pt x="84" y="6"/>
                    </a:lnTo>
                    <a:lnTo>
                      <a:pt x="95" y="7"/>
                    </a:lnTo>
                    <a:lnTo>
                      <a:pt x="99" y="20"/>
                    </a:lnTo>
                    <a:lnTo>
                      <a:pt x="114" y="29"/>
                    </a:lnTo>
                    <a:lnTo>
                      <a:pt x="128" y="36"/>
                    </a:lnTo>
                    <a:lnTo>
                      <a:pt x="136" y="43"/>
                    </a:lnTo>
                    <a:lnTo>
                      <a:pt x="123" y="53"/>
                    </a:lnTo>
                    <a:lnTo>
                      <a:pt x="124" y="62"/>
                    </a:lnTo>
                    <a:lnTo>
                      <a:pt x="132" y="76"/>
                    </a:lnTo>
                    <a:lnTo>
                      <a:pt x="134" y="97"/>
                    </a:lnTo>
                    <a:lnTo>
                      <a:pt x="120" y="108"/>
                    </a:lnTo>
                    <a:lnTo>
                      <a:pt x="109" y="105"/>
                    </a:lnTo>
                    <a:lnTo>
                      <a:pt x="106" y="90"/>
                    </a:lnTo>
                    <a:lnTo>
                      <a:pt x="98" y="77"/>
                    </a:lnTo>
                    <a:lnTo>
                      <a:pt x="90" y="80"/>
                    </a:lnTo>
                    <a:lnTo>
                      <a:pt x="92" y="91"/>
                    </a:lnTo>
                    <a:lnTo>
                      <a:pt x="79" y="88"/>
                    </a:lnTo>
                    <a:lnTo>
                      <a:pt x="68" y="80"/>
                    </a:lnTo>
                    <a:lnTo>
                      <a:pt x="58" y="68"/>
                    </a:lnTo>
                    <a:lnTo>
                      <a:pt x="49" y="62"/>
                    </a:lnTo>
                    <a:lnTo>
                      <a:pt x="34" y="56"/>
                    </a:lnTo>
                    <a:lnTo>
                      <a:pt x="34" y="46"/>
                    </a:lnTo>
                    <a:lnTo>
                      <a:pt x="21" y="38"/>
                    </a:lnTo>
                    <a:lnTo>
                      <a:pt x="17" y="21"/>
                    </a:lnTo>
                    <a:lnTo>
                      <a:pt x="12" y="18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28" name="Freeform 265">
                <a:extLst>
                  <a:ext uri="{FF2B5EF4-FFF2-40B4-BE49-F238E27FC236}">
                    <a16:creationId xmlns:a16="http://schemas.microsoft.com/office/drawing/2014/main" id="{DE99A2EA-93C3-49DB-AC52-19E79C1826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5" y="1970"/>
                <a:ext cx="259" cy="187"/>
              </a:xfrm>
              <a:custGeom>
                <a:avLst/>
                <a:gdLst>
                  <a:gd name="T0" fmla="*/ 65 w 259"/>
                  <a:gd name="T1" fmla="*/ 123 h 187"/>
                  <a:gd name="T2" fmla="*/ 86 w 259"/>
                  <a:gd name="T3" fmla="*/ 121 h 187"/>
                  <a:gd name="T4" fmla="*/ 99 w 259"/>
                  <a:gd name="T5" fmla="*/ 130 h 187"/>
                  <a:gd name="T6" fmla="*/ 119 w 259"/>
                  <a:gd name="T7" fmla="*/ 160 h 187"/>
                  <a:gd name="T8" fmla="*/ 116 w 259"/>
                  <a:gd name="T9" fmla="*/ 172 h 187"/>
                  <a:gd name="T10" fmla="*/ 110 w 259"/>
                  <a:gd name="T11" fmla="*/ 187 h 187"/>
                  <a:gd name="T12" fmla="*/ 123 w 259"/>
                  <a:gd name="T13" fmla="*/ 173 h 187"/>
                  <a:gd name="T14" fmla="*/ 132 w 259"/>
                  <a:gd name="T15" fmla="*/ 138 h 187"/>
                  <a:gd name="T16" fmla="*/ 149 w 259"/>
                  <a:gd name="T17" fmla="*/ 134 h 187"/>
                  <a:gd name="T18" fmla="*/ 154 w 259"/>
                  <a:gd name="T19" fmla="*/ 157 h 187"/>
                  <a:gd name="T20" fmla="*/ 175 w 259"/>
                  <a:gd name="T21" fmla="*/ 154 h 187"/>
                  <a:gd name="T22" fmla="*/ 169 w 259"/>
                  <a:gd name="T23" fmla="*/ 174 h 187"/>
                  <a:gd name="T24" fmla="*/ 184 w 259"/>
                  <a:gd name="T25" fmla="*/ 183 h 187"/>
                  <a:gd name="T26" fmla="*/ 211 w 259"/>
                  <a:gd name="T27" fmla="*/ 178 h 187"/>
                  <a:gd name="T28" fmla="*/ 187 w 259"/>
                  <a:gd name="T29" fmla="*/ 156 h 187"/>
                  <a:gd name="T30" fmla="*/ 197 w 259"/>
                  <a:gd name="T31" fmla="*/ 152 h 187"/>
                  <a:gd name="T32" fmla="*/ 205 w 259"/>
                  <a:gd name="T33" fmla="*/ 140 h 187"/>
                  <a:gd name="T34" fmla="*/ 218 w 259"/>
                  <a:gd name="T35" fmla="*/ 142 h 187"/>
                  <a:gd name="T36" fmla="*/ 250 w 259"/>
                  <a:gd name="T37" fmla="*/ 128 h 187"/>
                  <a:gd name="T38" fmla="*/ 259 w 259"/>
                  <a:gd name="T39" fmla="*/ 78 h 187"/>
                  <a:gd name="T40" fmla="*/ 195 w 259"/>
                  <a:gd name="T41" fmla="*/ 25 h 187"/>
                  <a:gd name="T42" fmla="*/ 186 w 259"/>
                  <a:gd name="T43" fmla="*/ 0 h 187"/>
                  <a:gd name="T44" fmla="*/ 143 w 259"/>
                  <a:gd name="T45" fmla="*/ 3 h 187"/>
                  <a:gd name="T46" fmla="*/ 132 w 259"/>
                  <a:gd name="T47" fmla="*/ 21 h 187"/>
                  <a:gd name="T48" fmla="*/ 17 w 259"/>
                  <a:gd name="T49" fmla="*/ 34 h 187"/>
                  <a:gd name="T50" fmla="*/ 18 w 259"/>
                  <a:gd name="T51" fmla="*/ 63 h 187"/>
                  <a:gd name="T52" fmla="*/ 6 w 259"/>
                  <a:gd name="T53" fmla="*/ 73 h 187"/>
                  <a:gd name="T54" fmla="*/ 0 w 259"/>
                  <a:gd name="T55" fmla="*/ 120 h 187"/>
                  <a:gd name="T56" fmla="*/ 23 w 259"/>
                  <a:gd name="T57" fmla="*/ 119 h 187"/>
                  <a:gd name="T58" fmla="*/ 32 w 259"/>
                  <a:gd name="T59" fmla="*/ 125 h 187"/>
                  <a:gd name="T60" fmla="*/ 55 w 259"/>
                  <a:gd name="T61" fmla="*/ 126 h 187"/>
                  <a:gd name="T62" fmla="*/ 65 w 259"/>
                  <a:gd name="T63" fmla="*/ 123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9" h="187">
                    <a:moveTo>
                      <a:pt x="65" y="123"/>
                    </a:moveTo>
                    <a:lnTo>
                      <a:pt x="86" y="121"/>
                    </a:lnTo>
                    <a:lnTo>
                      <a:pt x="99" y="130"/>
                    </a:lnTo>
                    <a:lnTo>
                      <a:pt x="119" y="160"/>
                    </a:lnTo>
                    <a:lnTo>
                      <a:pt x="116" y="172"/>
                    </a:lnTo>
                    <a:lnTo>
                      <a:pt x="110" y="187"/>
                    </a:lnTo>
                    <a:lnTo>
                      <a:pt x="123" y="173"/>
                    </a:lnTo>
                    <a:lnTo>
                      <a:pt x="132" y="138"/>
                    </a:lnTo>
                    <a:lnTo>
                      <a:pt x="149" y="134"/>
                    </a:lnTo>
                    <a:lnTo>
                      <a:pt x="154" y="157"/>
                    </a:lnTo>
                    <a:lnTo>
                      <a:pt x="175" y="154"/>
                    </a:lnTo>
                    <a:lnTo>
                      <a:pt x="169" y="174"/>
                    </a:lnTo>
                    <a:lnTo>
                      <a:pt x="184" y="183"/>
                    </a:lnTo>
                    <a:lnTo>
                      <a:pt x="211" y="178"/>
                    </a:lnTo>
                    <a:lnTo>
                      <a:pt x="187" y="156"/>
                    </a:lnTo>
                    <a:lnTo>
                      <a:pt x="197" y="152"/>
                    </a:lnTo>
                    <a:lnTo>
                      <a:pt x="205" y="140"/>
                    </a:lnTo>
                    <a:lnTo>
                      <a:pt x="218" y="142"/>
                    </a:lnTo>
                    <a:lnTo>
                      <a:pt x="250" y="128"/>
                    </a:lnTo>
                    <a:lnTo>
                      <a:pt x="259" y="78"/>
                    </a:lnTo>
                    <a:lnTo>
                      <a:pt x="195" y="25"/>
                    </a:lnTo>
                    <a:lnTo>
                      <a:pt x="186" y="0"/>
                    </a:lnTo>
                    <a:lnTo>
                      <a:pt x="143" y="3"/>
                    </a:lnTo>
                    <a:lnTo>
                      <a:pt x="132" y="21"/>
                    </a:lnTo>
                    <a:lnTo>
                      <a:pt x="17" y="34"/>
                    </a:lnTo>
                    <a:lnTo>
                      <a:pt x="18" y="63"/>
                    </a:lnTo>
                    <a:lnTo>
                      <a:pt x="6" y="73"/>
                    </a:lnTo>
                    <a:lnTo>
                      <a:pt x="0" y="120"/>
                    </a:lnTo>
                    <a:lnTo>
                      <a:pt x="23" y="119"/>
                    </a:lnTo>
                    <a:lnTo>
                      <a:pt x="32" y="125"/>
                    </a:lnTo>
                    <a:lnTo>
                      <a:pt x="55" y="126"/>
                    </a:lnTo>
                    <a:lnTo>
                      <a:pt x="65" y="12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29" name="Freeform 266">
                <a:extLst>
                  <a:ext uri="{FF2B5EF4-FFF2-40B4-BE49-F238E27FC236}">
                    <a16:creationId xmlns:a16="http://schemas.microsoft.com/office/drawing/2014/main" id="{6EF2B195-7840-43D8-8AC6-31704CD477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1" y="1867"/>
                <a:ext cx="151" cy="138"/>
              </a:xfrm>
              <a:custGeom>
                <a:avLst/>
                <a:gdLst>
                  <a:gd name="T0" fmla="*/ 11 w 136"/>
                  <a:gd name="T1" fmla="*/ 121 h 122"/>
                  <a:gd name="T2" fmla="*/ 112 w 136"/>
                  <a:gd name="T3" fmla="*/ 110 h 122"/>
                  <a:gd name="T4" fmla="*/ 122 w 136"/>
                  <a:gd name="T5" fmla="*/ 94 h 122"/>
                  <a:gd name="T6" fmla="*/ 129 w 136"/>
                  <a:gd name="T7" fmla="*/ 74 h 122"/>
                  <a:gd name="T8" fmla="*/ 135 w 136"/>
                  <a:gd name="T9" fmla="*/ 67 h 122"/>
                  <a:gd name="T10" fmla="*/ 132 w 136"/>
                  <a:gd name="T11" fmla="*/ 15 h 122"/>
                  <a:gd name="T12" fmla="*/ 93 w 136"/>
                  <a:gd name="T13" fmla="*/ 0 h 122"/>
                  <a:gd name="T14" fmla="*/ 82 w 136"/>
                  <a:gd name="T15" fmla="*/ 8 h 122"/>
                  <a:gd name="T16" fmla="*/ 68 w 136"/>
                  <a:gd name="T17" fmla="*/ 3 h 122"/>
                  <a:gd name="T18" fmla="*/ 62 w 136"/>
                  <a:gd name="T19" fmla="*/ 22 h 122"/>
                  <a:gd name="T20" fmla="*/ 58 w 136"/>
                  <a:gd name="T21" fmla="*/ 19 h 122"/>
                  <a:gd name="T22" fmla="*/ 49 w 136"/>
                  <a:gd name="T23" fmla="*/ 38 h 122"/>
                  <a:gd name="T24" fmla="*/ 56 w 136"/>
                  <a:gd name="T25" fmla="*/ 49 h 122"/>
                  <a:gd name="T26" fmla="*/ 36 w 136"/>
                  <a:gd name="T27" fmla="*/ 56 h 122"/>
                  <a:gd name="T28" fmla="*/ 33 w 136"/>
                  <a:gd name="T29" fmla="*/ 68 h 122"/>
                  <a:gd name="T30" fmla="*/ 15 w 136"/>
                  <a:gd name="T31" fmla="*/ 66 h 122"/>
                  <a:gd name="T32" fmla="*/ 0 w 136"/>
                  <a:gd name="T33" fmla="*/ 72 h 122"/>
                  <a:gd name="T34" fmla="*/ 1 w 136"/>
                  <a:gd name="T35" fmla="*/ 85 h 122"/>
                  <a:gd name="T36" fmla="*/ 1 w 136"/>
                  <a:gd name="T37" fmla="*/ 105 h 122"/>
                  <a:gd name="T38" fmla="*/ 10 w 136"/>
                  <a:gd name="T39" fmla="*/ 105 h 122"/>
                  <a:gd name="T40" fmla="*/ 11 w 136"/>
                  <a:gd name="T41" fmla="*/ 12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6" h="122">
                    <a:moveTo>
                      <a:pt x="11" y="121"/>
                    </a:moveTo>
                    <a:lnTo>
                      <a:pt x="112" y="110"/>
                    </a:lnTo>
                    <a:lnTo>
                      <a:pt x="122" y="94"/>
                    </a:lnTo>
                    <a:lnTo>
                      <a:pt x="129" y="74"/>
                    </a:lnTo>
                    <a:lnTo>
                      <a:pt x="135" y="67"/>
                    </a:lnTo>
                    <a:lnTo>
                      <a:pt x="132" y="15"/>
                    </a:lnTo>
                    <a:lnTo>
                      <a:pt x="93" y="0"/>
                    </a:lnTo>
                    <a:lnTo>
                      <a:pt x="82" y="8"/>
                    </a:lnTo>
                    <a:lnTo>
                      <a:pt x="68" y="3"/>
                    </a:lnTo>
                    <a:lnTo>
                      <a:pt x="62" y="22"/>
                    </a:lnTo>
                    <a:lnTo>
                      <a:pt x="58" y="19"/>
                    </a:lnTo>
                    <a:lnTo>
                      <a:pt x="49" y="38"/>
                    </a:lnTo>
                    <a:lnTo>
                      <a:pt x="56" y="49"/>
                    </a:lnTo>
                    <a:lnTo>
                      <a:pt x="36" y="56"/>
                    </a:lnTo>
                    <a:lnTo>
                      <a:pt x="33" y="68"/>
                    </a:lnTo>
                    <a:lnTo>
                      <a:pt x="15" y="66"/>
                    </a:lnTo>
                    <a:lnTo>
                      <a:pt x="0" y="72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0" y="105"/>
                    </a:lnTo>
                    <a:lnTo>
                      <a:pt x="11" y="121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0" name="Freeform 267">
                <a:extLst>
                  <a:ext uri="{FF2B5EF4-FFF2-40B4-BE49-F238E27FC236}">
                    <a16:creationId xmlns:a16="http://schemas.microsoft.com/office/drawing/2014/main" id="{8EBCA306-1F30-479D-9FBE-DB71C44EF9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3" y="2315"/>
                <a:ext cx="39" cy="15"/>
              </a:xfrm>
              <a:custGeom>
                <a:avLst/>
                <a:gdLst>
                  <a:gd name="T0" fmla="*/ 17 w 36"/>
                  <a:gd name="T1" fmla="*/ 13 h 14"/>
                  <a:gd name="T2" fmla="*/ 15 w 36"/>
                  <a:gd name="T3" fmla="*/ 13 h 14"/>
                  <a:gd name="T4" fmla="*/ 13 w 36"/>
                  <a:gd name="T5" fmla="*/ 13 h 14"/>
                  <a:gd name="T6" fmla="*/ 12 w 36"/>
                  <a:gd name="T7" fmla="*/ 13 h 14"/>
                  <a:gd name="T8" fmla="*/ 10 w 36"/>
                  <a:gd name="T9" fmla="*/ 11 h 14"/>
                  <a:gd name="T10" fmla="*/ 8 w 36"/>
                  <a:gd name="T11" fmla="*/ 11 h 14"/>
                  <a:gd name="T12" fmla="*/ 6 w 36"/>
                  <a:gd name="T13" fmla="*/ 10 h 14"/>
                  <a:gd name="T14" fmla="*/ 4 w 36"/>
                  <a:gd name="T15" fmla="*/ 9 h 14"/>
                  <a:gd name="T16" fmla="*/ 3 w 36"/>
                  <a:gd name="T17" fmla="*/ 9 h 14"/>
                  <a:gd name="T18" fmla="*/ 2 w 36"/>
                  <a:gd name="T19" fmla="*/ 9 h 14"/>
                  <a:gd name="T20" fmla="*/ 2 w 36"/>
                  <a:gd name="T21" fmla="*/ 7 h 14"/>
                  <a:gd name="T22" fmla="*/ 1 w 36"/>
                  <a:gd name="T23" fmla="*/ 7 h 14"/>
                  <a:gd name="T24" fmla="*/ 0 w 36"/>
                  <a:gd name="T25" fmla="*/ 7 h 14"/>
                  <a:gd name="T26" fmla="*/ 1 w 36"/>
                  <a:gd name="T27" fmla="*/ 7 h 14"/>
                  <a:gd name="T28" fmla="*/ 2 w 36"/>
                  <a:gd name="T29" fmla="*/ 7 h 14"/>
                  <a:gd name="T30" fmla="*/ 2 w 36"/>
                  <a:gd name="T31" fmla="*/ 6 h 14"/>
                  <a:gd name="T32" fmla="*/ 3 w 36"/>
                  <a:gd name="T33" fmla="*/ 6 h 14"/>
                  <a:gd name="T34" fmla="*/ 3 w 36"/>
                  <a:gd name="T35" fmla="*/ 5 h 14"/>
                  <a:gd name="T36" fmla="*/ 4 w 36"/>
                  <a:gd name="T37" fmla="*/ 5 h 14"/>
                  <a:gd name="T38" fmla="*/ 6 w 36"/>
                  <a:gd name="T39" fmla="*/ 5 h 14"/>
                  <a:gd name="T40" fmla="*/ 8 w 36"/>
                  <a:gd name="T41" fmla="*/ 5 h 14"/>
                  <a:gd name="T42" fmla="*/ 11 w 36"/>
                  <a:gd name="T43" fmla="*/ 5 h 14"/>
                  <a:gd name="T44" fmla="*/ 13 w 36"/>
                  <a:gd name="T45" fmla="*/ 5 h 14"/>
                  <a:gd name="T46" fmla="*/ 15 w 36"/>
                  <a:gd name="T47" fmla="*/ 5 h 14"/>
                  <a:gd name="T48" fmla="*/ 17 w 36"/>
                  <a:gd name="T49" fmla="*/ 5 h 14"/>
                  <a:gd name="T50" fmla="*/ 18 w 36"/>
                  <a:gd name="T51" fmla="*/ 5 h 14"/>
                  <a:gd name="T52" fmla="*/ 19 w 36"/>
                  <a:gd name="T53" fmla="*/ 3 h 14"/>
                  <a:gd name="T54" fmla="*/ 21 w 36"/>
                  <a:gd name="T55" fmla="*/ 3 h 14"/>
                  <a:gd name="T56" fmla="*/ 23 w 36"/>
                  <a:gd name="T57" fmla="*/ 2 h 14"/>
                  <a:gd name="T58" fmla="*/ 24 w 36"/>
                  <a:gd name="T59" fmla="*/ 2 h 14"/>
                  <a:gd name="T60" fmla="*/ 26 w 36"/>
                  <a:gd name="T61" fmla="*/ 2 h 14"/>
                  <a:gd name="T62" fmla="*/ 27 w 36"/>
                  <a:gd name="T63" fmla="*/ 1 h 14"/>
                  <a:gd name="T64" fmla="*/ 28 w 36"/>
                  <a:gd name="T65" fmla="*/ 1 h 14"/>
                  <a:gd name="T66" fmla="*/ 29 w 36"/>
                  <a:gd name="T67" fmla="*/ 1 h 14"/>
                  <a:gd name="T68" fmla="*/ 30 w 36"/>
                  <a:gd name="T69" fmla="*/ 0 h 14"/>
                  <a:gd name="T70" fmla="*/ 30 w 36"/>
                  <a:gd name="T71" fmla="*/ 1 h 14"/>
                  <a:gd name="T72" fmla="*/ 31 w 36"/>
                  <a:gd name="T73" fmla="*/ 1 h 14"/>
                  <a:gd name="T74" fmla="*/ 32 w 36"/>
                  <a:gd name="T75" fmla="*/ 2 h 14"/>
                  <a:gd name="T76" fmla="*/ 33 w 36"/>
                  <a:gd name="T77" fmla="*/ 2 h 14"/>
                  <a:gd name="T78" fmla="*/ 33 w 36"/>
                  <a:gd name="T79" fmla="*/ 3 h 14"/>
                  <a:gd name="T80" fmla="*/ 33 w 36"/>
                  <a:gd name="T81" fmla="*/ 5 h 14"/>
                  <a:gd name="T82" fmla="*/ 34 w 36"/>
                  <a:gd name="T83" fmla="*/ 6 h 14"/>
                  <a:gd name="T84" fmla="*/ 34 w 36"/>
                  <a:gd name="T85" fmla="*/ 7 h 14"/>
                  <a:gd name="T86" fmla="*/ 34 w 36"/>
                  <a:gd name="T87" fmla="*/ 9 h 14"/>
                  <a:gd name="T88" fmla="*/ 35 w 36"/>
                  <a:gd name="T89" fmla="*/ 9 h 14"/>
                  <a:gd name="T90" fmla="*/ 34 w 36"/>
                  <a:gd name="T91" fmla="*/ 9 h 14"/>
                  <a:gd name="T92" fmla="*/ 33 w 36"/>
                  <a:gd name="T93" fmla="*/ 10 h 14"/>
                  <a:gd name="T94" fmla="*/ 33 w 36"/>
                  <a:gd name="T95" fmla="*/ 11 h 14"/>
                  <a:gd name="T96" fmla="*/ 32 w 36"/>
                  <a:gd name="T97" fmla="*/ 11 h 14"/>
                  <a:gd name="T98" fmla="*/ 30 w 36"/>
                  <a:gd name="T99" fmla="*/ 11 h 14"/>
                  <a:gd name="T100" fmla="*/ 28 w 36"/>
                  <a:gd name="T101" fmla="*/ 13 h 14"/>
                  <a:gd name="T102" fmla="*/ 27 w 36"/>
                  <a:gd name="T103" fmla="*/ 13 h 14"/>
                  <a:gd name="T104" fmla="*/ 25 w 36"/>
                  <a:gd name="T105" fmla="*/ 13 h 14"/>
                  <a:gd name="T106" fmla="*/ 23 w 36"/>
                  <a:gd name="T107" fmla="*/ 13 h 14"/>
                  <a:gd name="T108" fmla="*/ 21 w 36"/>
                  <a:gd name="T109" fmla="*/ 13 h 14"/>
                  <a:gd name="T110" fmla="*/ 19 w 36"/>
                  <a:gd name="T111" fmla="*/ 13 h 14"/>
                  <a:gd name="T112" fmla="*/ 17 w 36"/>
                  <a:gd name="T113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6" h="14">
                    <a:moveTo>
                      <a:pt x="17" y="13"/>
                    </a:moveTo>
                    <a:lnTo>
                      <a:pt x="15" y="13"/>
                    </a:lnTo>
                    <a:lnTo>
                      <a:pt x="13" y="13"/>
                    </a:lnTo>
                    <a:lnTo>
                      <a:pt x="12" y="13"/>
                    </a:lnTo>
                    <a:lnTo>
                      <a:pt x="10" y="11"/>
                    </a:lnTo>
                    <a:lnTo>
                      <a:pt x="8" y="11"/>
                    </a:lnTo>
                    <a:lnTo>
                      <a:pt x="6" y="10"/>
                    </a:lnTo>
                    <a:lnTo>
                      <a:pt x="4" y="9"/>
                    </a:lnTo>
                    <a:lnTo>
                      <a:pt x="3" y="9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1" y="7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2" y="7"/>
                    </a:lnTo>
                    <a:lnTo>
                      <a:pt x="2" y="6"/>
                    </a:lnTo>
                    <a:lnTo>
                      <a:pt x="3" y="6"/>
                    </a:lnTo>
                    <a:lnTo>
                      <a:pt x="3" y="5"/>
                    </a:lnTo>
                    <a:lnTo>
                      <a:pt x="4" y="5"/>
                    </a:lnTo>
                    <a:lnTo>
                      <a:pt x="6" y="5"/>
                    </a:lnTo>
                    <a:lnTo>
                      <a:pt x="8" y="5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5" y="5"/>
                    </a:lnTo>
                    <a:lnTo>
                      <a:pt x="17" y="5"/>
                    </a:lnTo>
                    <a:lnTo>
                      <a:pt x="18" y="5"/>
                    </a:lnTo>
                    <a:lnTo>
                      <a:pt x="19" y="3"/>
                    </a:lnTo>
                    <a:lnTo>
                      <a:pt x="21" y="3"/>
                    </a:lnTo>
                    <a:lnTo>
                      <a:pt x="23" y="2"/>
                    </a:lnTo>
                    <a:lnTo>
                      <a:pt x="24" y="2"/>
                    </a:lnTo>
                    <a:lnTo>
                      <a:pt x="26" y="2"/>
                    </a:lnTo>
                    <a:lnTo>
                      <a:pt x="27" y="1"/>
                    </a:lnTo>
                    <a:lnTo>
                      <a:pt x="28" y="1"/>
                    </a:lnTo>
                    <a:lnTo>
                      <a:pt x="29" y="1"/>
                    </a:lnTo>
                    <a:lnTo>
                      <a:pt x="30" y="0"/>
                    </a:lnTo>
                    <a:lnTo>
                      <a:pt x="30" y="1"/>
                    </a:lnTo>
                    <a:lnTo>
                      <a:pt x="31" y="1"/>
                    </a:lnTo>
                    <a:lnTo>
                      <a:pt x="32" y="2"/>
                    </a:lnTo>
                    <a:lnTo>
                      <a:pt x="33" y="2"/>
                    </a:lnTo>
                    <a:lnTo>
                      <a:pt x="33" y="3"/>
                    </a:lnTo>
                    <a:lnTo>
                      <a:pt x="33" y="5"/>
                    </a:lnTo>
                    <a:lnTo>
                      <a:pt x="34" y="6"/>
                    </a:lnTo>
                    <a:lnTo>
                      <a:pt x="34" y="7"/>
                    </a:lnTo>
                    <a:lnTo>
                      <a:pt x="34" y="9"/>
                    </a:lnTo>
                    <a:lnTo>
                      <a:pt x="35" y="9"/>
                    </a:lnTo>
                    <a:lnTo>
                      <a:pt x="34" y="9"/>
                    </a:lnTo>
                    <a:lnTo>
                      <a:pt x="33" y="10"/>
                    </a:lnTo>
                    <a:lnTo>
                      <a:pt x="33" y="11"/>
                    </a:lnTo>
                    <a:lnTo>
                      <a:pt x="32" y="11"/>
                    </a:lnTo>
                    <a:lnTo>
                      <a:pt x="30" y="11"/>
                    </a:lnTo>
                    <a:lnTo>
                      <a:pt x="28" y="13"/>
                    </a:lnTo>
                    <a:lnTo>
                      <a:pt x="27" y="13"/>
                    </a:lnTo>
                    <a:lnTo>
                      <a:pt x="25" y="13"/>
                    </a:lnTo>
                    <a:lnTo>
                      <a:pt x="23" y="13"/>
                    </a:lnTo>
                    <a:lnTo>
                      <a:pt x="21" y="13"/>
                    </a:lnTo>
                    <a:lnTo>
                      <a:pt x="19" y="13"/>
                    </a:lnTo>
                    <a:lnTo>
                      <a:pt x="17" y="1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1" name="Freeform 268">
                <a:extLst>
                  <a:ext uri="{FF2B5EF4-FFF2-40B4-BE49-F238E27FC236}">
                    <a16:creationId xmlns:a16="http://schemas.microsoft.com/office/drawing/2014/main" id="{73D8A41A-20BF-4178-8955-6829A5D346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3" y="1866"/>
                <a:ext cx="115" cy="97"/>
              </a:xfrm>
              <a:custGeom>
                <a:avLst/>
                <a:gdLst>
                  <a:gd name="T0" fmla="*/ 22 w 115"/>
                  <a:gd name="T1" fmla="*/ 23 h 97"/>
                  <a:gd name="T2" fmla="*/ 15 w 115"/>
                  <a:gd name="T3" fmla="*/ 42 h 97"/>
                  <a:gd name="T4" fmla="*/ 0 w 115"/>
                  <a:gd name="T5" fmla="*/ 67 h 97"/>
                  <a:gd name="T6" fmla="*/ 27 w 115"/>
                  <a:gd name="T7" fmla="*/ 78 h 97"/>
                  <a:gd name="T8" fmla="*/ 48 w 115"/>
                  <a:gd name="T9" fmla="*/ 97 h 97"/>
                  <a:gd name="T10" fmla="*/ 47 w 115"/>
                  <a:gd name="T11" fmla="*/ 81 h 97"/>
                  <a:gd name="T12" fmla="*/ 68 w 115"/>
                  <a:gd name="T13" fmla="*/ 75 h 97"/>
                  <a:gd name="T14" fmla="*/ 88 w 115"/>
                  <a:gd name="T15" fmla="*/ 75 h 97"/>
                  <a:gd name="T16" fmla="*/ 89 w 115"/>
                  <a:gd name="T17" fmla="*/ 60 h 97"/>
                  <a:gd name="T18" fmla="*/ 113 w 115"/>
                  <a:gd name="T19" fmla="*/ 57 h 97"/>
                  <a:gd name="T20" fmla="*/ 104 w 115"/>
                  <a:gd name="T21" fmla="*/ 44 h 97"/>
                  <a:gd name="T22" fmla="*/ 113 w 115"/>
                  <a:gd name="T23" fmla="*/ 21 h 97"/>
                  <a:gd name="T24" fmla="*/ 115 w 115"/>
                  <a:gd name="T25" fmla="*/ 12 h 97"/>
                  <a:gd name="T26" fmla="*/ 83 w 115"/>
                  <a:gd name="T27" fmla="*/ 0 h 97"/>
                  <a:gd name="T28" fmla="*/ 50 w 115"/>
                  <a:gd name="T29" fmla="*/ 20 h 97"/>
                  <a:gd name="T30" fmla="*/ 31 w 115"/>
                  <a:gd name="T31" fmla="*/ 23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5" h="97">
                    <a:moveTo>
                      <a:pt x="22" y="23"/>
                    </a:moveTo>
                    <a:lnTo>
                      <a:pt x="15" y="42"/>
                    </a:lnTo>
                    <a:lnTo>
                      <a:pt x="0" y="67"/>
                    </a:lnTo>
                    <a:lnTo>
                      <a:pt x="27" y="78"/>
                    </a:lnTo>
                    <a:lnTo>
                      <a:pt x="48" y="97"/>
                    </a:lnTo>
                    <a:lnTo>
                      <a:pt x="47" y="81"/>
                    </a:lnTo>
                    <a:lnTo>
                      <a:pt x="68" y="75"/>
                    </a:lnTo>
                    <a:lnTo>
                      <a:pt x="88" y="75"/>
                    </a:lnTo>
                    <a:lnTo>
                      <a:pt x="89" y="60"/>
                    </a:lnTo>
                    <a:lnTo>
                      <a:pt x="113" y="57"/>
                    </a:lnTo>
                    <a:lnTo>
                      <a:pt x="104" y="44"/>
                    </a:lnTo>
                    <a:lnTo>
                      <a:pt x="113" y="21"/>
                    </a:lnTo>
                    <a:lnTo>
                      <a:pt x="115" y="12"/>
                    </a:lnTo>
                    <a:lnTo>
                      <a:pt x="83" y="0"/>
                    </a:lnTo>
                    <a:lnTo>
                      <a:pt x="50" y="20"/>
                    </a:lnTo>
                    <a:lnTo>
                      <a:pt x="31" y="23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2" name="Freeform 269">
                <a:extLst>
                  <a:ext uri="{FF2B5EF4-FFF2-40B4-BE49-F238E27FC236}">
                    <a16:creationId xmlns:a16="http://schemas.microsoft.com/office/drawing/2014/main" id="{FBB2045D-8DF9-4F7A-B0BB-3B98C1E465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1319"/>
                <a:ext cx="2339" cy="878"/>
              </a:xfrm>
              <a:custGeom>
                <a:avLst/>
                <a:gdLst>
                  <a:gd name="T0" fmla="*/ 354 w 2085"/>
                  <a:gd name="T1" fmla="*/ 571 h 783"/>
                  <a:gd name="T2" fmla="*/ 487 w 2085"/>
                  <a:gd name="T3" fmla="*/ 613 h 783"/>
                  <a:gd name="T4" fmla="*/ 575 w 2085"/>
                  <a:gd name="T5" fmla="*/ 567 h 783"/>
                  <a:gd name="T6" fmla="*/ 718 w 2085"/>
                  <a:gd name="T7" fmla="*/ 589 h 783"/>
                  <a:gd name="T8" fmla="*/ 848 w 2085"/>
                  <a:gd name="T9" fmla="*/ 670 h 783"/>
                  <a:gd name="T10" fmla="*/ 953 w 2085"/>
                  <a:gd name="T11" fmla="*/ 648 h 783"/>
                  <a:gd name="T12" fmla="*/ 1049 w 2085"/>
                  <a:gd name="T13" fmla="*/ 634 h 783"/>
                  <a:gd name="T14" fmla="*/ 1189 w 2085"/>
                  <a:gd name="T15" fmla="*/ 638 h 783"/>
                  <a:gd name="T16" fmla="*/ 1259 w 2085"/>
                  <a:gd name="T17" fmla="*/ 578 h 783"/>
                  <a:gd name="T18" fmla="*/ 1409 w 2085"/>
                  <a:gd name="T19" fmla="*/ 667 h 783"/>
                  <a:gd name="T20" fmla="*/ 1463 w 2085"/>
                  <a:gd name="T21" fmla="*/ 744 h 783"/>
                  <a:gd name="T22" fmla="*/ 1531 w 2085"/>
                  <a:gd name="T23" fmla="*/ 701 h 783"/>
                  <a:gd name="T24" fmla="*/ 1482 w 2085"/>
                  <a:gd name="T25" fmla="*/ 573 h 783"/>
                  <a:gd name="T26" fmla="*/ 1537 w 2085"/>
                  <a:gd name="T27" fmla="*/ 452 h 783"/>
                  <a:gd name="T28" fmla="*/ 1683 w 2085"/>
                  <a:gd name="T29" fmla="*/ 408 h 783"/>
                  <a:gd name="T30" fmla="*/ 1773 w 2085"/>
                  <a:gd name="T31" fmla="*/ 421 h 783"/>
                  <a:gd name="T32" fmla="*/ 1751 w 2085"/>
                  <a:gd name="T33" fmla="*/ 604 h 783"/>
                  <a:gd name="T34" fmla="*/ 1814 w 2085"/>
                  <a:gd name="T35" fmla="*/ 509 h 783"/>
                  <a:gd name="T36" fmla="*/ 1785 w 2085"/>
                  <a:gd name="T37" fmla="*/ 478 h 783"/>
                  <a:gd name="T38" fmla="*/ 1785 w 2085"/>
                  <a:gd name="T39" fmla="*/ 462 h 783"/>
                  <a:gd name="T40" fmla="*/ 1797 w 2085"/>
                  <a:gd name="T41" fmla="*/ 439 h 783"/>
                  <a:gd name="T42" fmla="*/ 1895 w 2085"/>
                  <a:gd name="T43" fmla="*/ 405 h 783"/>
                  <a:gd name="T44" fmla="*/ 1929 w 2085"/>
                  <a:gd name="T45" fmla="*/ 332 h 783"/>
                  <a:gd name="T46" fmla="*/ 2005 w 2085"/>
                  <a:gd name="T47" fmla="*/ 313 h 783"/>
                  <a:gd name="T48" fmla="*/ 2070 w 2085"/>
                  <a:gd name="T49" fmla="*/ 305 h 783"/>
                  <a:gd name="T50" fmla="*/ 1997 w 2085"/>
                  <a:gd name="T51" fmla="*/ 260 h 783"/>
                  <a:gd name="T52" fmla="*/ 1865 w 2085"/>
                  <a:gd name="T53" fmla="*/ 201 h 783"/>
                  <a:gd name="T54" fmla="*/ 1722 w 2085"/>
                  <a:gd name="T55" fmla="*/ 199 h 783"/>
                  <a:gd name="T56" fmla="*/ 1571 w 2085"/>
                  <a:gd name="T57" fmla="*/ 180 h 783"/>
                  <a:gd name="T58" fmla="*/ 1409 w 2085"/>
                  <a:gd name="T59" fmla="*/ 136 h 783"/>
                  <a:gd name="T60" fmla="*/ 1312 w 2085"/>
                  <a:gd name="T61" fmla="*/ 165 h 783"/>
                  <a:gd name="T62" fmla="*/ 1233 w 2085"/>
                  <a:gd name="T63" fmla="*/ 136 h 783"/>
                  <a:gd name="T64" fmla="*/ 1020 w 2085"/>
                  <a:gd name="T65" fmla="*/ 107 h 783"/>
                  <a:gd name="T66" fmla="*/ 1024 w 2085"/>
                  <a:gd name="T67" fmla="*/ 51 h 783"/>
                  <a:gd name="T68" fmla="*/ 892 w 2085"/>
                  <a:gd name="T69" fmla="*/ 0 h 783"/>
                  <a:gd name="T70" fmla="*/ 806 w 2085"/>
                  <a:gd name="T71" fmla="*/ 53 h 783"/>
                  <a:gd name="T72" fmla="*/ 689 w 2085"/>
                  <a:gd name="T73" fmla="*/ 75 h 783"/>
                  <a:gd name="T74" fmla="*/ 642 w 2085"/>
                  <a:gd name="T75" fmla="*/ 142 h 783"/>
                  <a:gd name="T76" fmla="*/ 607 w 2085"/>
                  <a:gd name="T77" fmla="*/ 144 h 783"/>
                  <a:gd name="T78" fmla="*/ 554 w 2085"/>
                  <a:gd name="T79" fmla="*/ 137 h 783"/>
                  <a:gd name="T80" fmla="*/ 591 w 2085"/>
                  <a:gd name="T81" fmla="*/ 210 h 783"/>
                  <a:gd name="T82" fmla="*/ 627 w 2085"/>
                  <a:gd name="T83" fmla="*/ 256 h 783"/>
                  <a:gd name="T84" fmla="*/ 548 w 2085"/>
                  <a:gd name="T85" fmla="*/ 291 h 783"/>
                  <a:gd name="T86" fmla="*/ 559 w 2085"/>
                  <a:gd name="T87" fmla="*/ 256 h 783"/>
                  <a:gd name="T88" fmla="*/ 561 w 2085"/>
                  <a:gd name="T89" fmla="*/ 243 h 783"/>
                  <a:gd name="T90" fmla="*/ 554 w 2085"/>
                  <a:gd name="T91" fmla="*/ 225 h 783"/>
                  <a:gd name="T92" fmla="*/ 517 w 2085"/>
                  <a:gd name="T93" fmla="*/ 109 h 783"/>
                  <a:gd name="T94" fmla="*/ 499 w 2085"/>
                  <a:gd name="T95" fmla="*/ 228 h 783"/>
                  <a:gd name="T96" fmla="*/ 401 w 2085"/>
                  <a:gd name="T97" fmla="*/ 218 h 783"/>
                  <a:gd name="T98" fmla="*/ 314 w 2085"/>
                  <a:gd name="T99" fmla="*/ 233 h 783"/>
                  <a:gd name="T100" fmla="*/ 208 w 2085"/>
                  <a:gd name="T101" fmla="*/ 237 h 783"/>
                  <a:gd name="T102" fmla="*/ 166 w 2085"/>
                  <a:gd name="T103" fmla="*/ 298 h 783"/>
                  <a:gd name="T104" fmla="*/ 109 w 2085"/>
                  <a:gd name="T105" fmla="*/ 322 h 783"/>
                  <a:gd name="T106" fmla="*/ 80 w 2085"/>
                  <a:gd name="T107" fmla="*/ 289 h 783"/>
                  <a:gd name="T108" fmla="*/ 100 w 2085"/>
                  <a:gd name="T109" fmla="*/ 233 h 783"/>
                  <a:gd name="T110" fmla="*/ 20 w 2085"/>
                  <a:gd name="T111" fmla="*/ 311 h 783"/>
                  <a:gd name="T112" fmla="*/ 8 w 2085"/>
                  <a:gd name="T113" fmla="*/ 427 h 783"/>
                  <a:gd name="T114" fmla="*/ 69 w 2085"/>
                  <a:gd name="T115" fmla="*/ 584 h 783"/>
                  <a:gd name="T116" fmla="*/ 138 w 2085"/>
                  <a:gd name="T117" fmla="*/ 740 h 783"/>
                  <a:gd name="T118" fmla="*/ 285 w 2085"/>
                  <a:gd name="T119" fmla="*/ 773 h 7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085" h="783">
                    <a:moveTo>
                      <a:pt x="304" y="721"/>
                    </a:moveTo>
                    <a:lnTo>
                      <a:pt x="316" y="709"/>
                    </a:lnTo>
                    <a:lnTo>
                      <a:pt x="322" y="683"/>
                    </a:lnTo>
                    <a:lnTo>
                      <a:pt x="336" y="668"/>
                    </a:lnTo>
                    <a:lnTo>
                      <a:pt x="334" y="649"/>
                    </a:lnTo>
                    <a:lnTo>
                      <a:pt x="317" y="639"/>
                    </a:lnTo>
                    <a:lnTo>
                      <a:pt x="310" y="622"/>
                    </a:lnTo>
                    <a:lnTo>
                      <a:pt x="354" y="571"/>
                    </a:lnTo>
                    <a:lnTo>
                      <a:pt x="370" y="589"/>
                    </a:lnTo>
                    <a:lnTo>
                      <a:pt x="376" y="576"/>
                    </a:lnTo>
                    <a:lnTo>
                      <a:pt x="395" y="571"/>
                    </a:lnTo>
                    <a:lnTo>
                      <a:pt x="411" y="575"/>
                    </a:lnTo>
                    <a:lnTo>
                      <a:pt x="440" y="576"/>
                    </a:lnTo>
                    <a:lnTo>
                      <a:pt x="475" y="599"/>
                    </a:lnTo>
                    <a:lnTo>
                      <a:pt x="474" y="608"/>
                    </a:lnTo>
                    <a:lnTo>
                      <a:pt x="487" y="613"/>
                    </a:lnTo>
                    <a:lnTo>
                      <a:pt x="506" y="612"/>
                    </a:lnTo>
                    <a:lnTo>
                      <a:pt x="532" y="626"/>
                    </a:lnTo>
                    <a:lnTo>
                      <a:pt x="546" y="631"/>
                    </a:lnTo>
                    <a:lnTo>
                      <a:pt x="553" y="623"/>
                    </a:lnTo>
                    <a:lnTo>
                      <a:pt x="546" y="605"/>
                    </a:lnTo>
                    <a:lnTo>
                      <a:pt x="562" y="596"/>
                    </a:lnTo>
                    <a:lnTo>
                      <a:pt x="579" y="589"/>
                    </a:lnTo>
                    <a:lnTo>
                      <a:pt x="575" y="567"/>
                    </a:lnTo>
                    <a:lnTo>
                      <a:pt x="585" y="566"/>
                    </a:lnTo>
                    <a:lnTo>
                      <a:pt x="604" y="571"/>
                    </a:lnTo>
                    <a:lnTo>
                      <a:pt x="640" y="574"/>
                    </a:lnTo>
                    <a:lnTo>
                      <a:pt x="661" y="569"/>
                    </a:lnTo>
                    <a:lnTo>
                      <a:pt x="689" y="564"/>
                    </a:lnTo>
                    <a:lnTo>
                      <a:pt x="701" y="575"/>
                    </a:lnTo>
                    <a:lnTo>
                      <a:pt x="703" y="587"/>
                    </a:lnTo>
                    <a:lnTo>
                      <a:pt x="718" y="589"/>
                    </a:lnTo>
                    <a:lnTo>
                      <a:pt x="741" y="580"/>
                    </a:lnTo>
                    <a:lnTo>
                      <a:pt x="759" y="580"/>
                    </a:lnTo>
                    <a:lnTo>
                      <a:pt x="781" y="621"/>
                    </a:lnTo>
                    <a:lnTo>
                      <a:pt x="796" y="622"/>
                    </a:lnTo>
                    <a:lnTo>
                      <a:pt x="803" y="633"/>
                    </a:lnTo>
                    <a:lnTo>
                      <a:pt x="826" y="642"/>
                    </a:lnTo>
                    <a:lnTo>
                      <a:pt x="840" y="677"/>
                    </a:lnTo>
                    <a:lnTo>
                      <a:pt x="848" y="670"/>
                    </a:lnTo>
                    <a:lnTo>
                      <a:pt x="867" y="665"/>
                    </a:lnTo>
                    <a:lnTo>
                      <a:pt x="910" y="661"/>
                    </a:lnTo>
                    <a:lnTo>
                      <a:pt x="914" y="667"/>
                    </a:lnTo>
                    <a:lnTo>
                      <a:pt x="930" y="670"/>
                    </a:lnTo>
                    <a:lnTo>
                      <a:pt x="936" y="676"/>
                    </a:lnTo>
                    <a:lnTo>
                      <a:pt x="965" y="673"/>
                    </a:lnTo>
                    <a:lnTo>
                      <a:pt x="958" y="656"/>
                    </a:lnTo>
                    <a:lnTo>
                      <a:pt x="953" y="648"/>
                    </a:lnTo>
                    <a:lnTo>
                      <a:pt x="965" y="647"/>
                    </a:lnTo>
                    <a:lnTo>
                      <a:pt x="965" y="623"/>
                    </a:lnTo>
                    <a:lnTo>
                      <a:pt x="965" y="596"/>
                    </a:lnTo>
                    <a:lnTo>
                      <a:pt x="992" y="607"/>
                    </a:lnTo>
                    <a:lnTo>
                      <a:pt x="1009" y="607"/>
                    </a:lnTo>
                    <a:lnTo>
                      <a:pt x="1022" y="621"/>
                    </a:lnTo>
                    <a:lnTo>
                      <a:pt x="1028" y="634"/>
                    </a:lnTo>
                    <a:lnTo>
                      <a:pt x="1049" y="634"/>
                    </a:lnTo>
                    <a:lnTo>
                      <a:pt x="1081" y="635"/>
                    </a:lnTo>
                    <a:lnTo>
                      <a:pt x="1098" y="645"/>
                    </a:lnTo>
                    <a:lnTo>
                      <a:pt x="1112" y="649"/>
                    </a:lnTo>
                    <a:lnTo>
                      <a:pt x="1115" y="661"/>
                    </a:lnTo>
                    <a:lnTo>
                      <a:pt x="1153" y="655"/>
                    </a:lnTo>
                    <a:lnTo>
                      <a:pt x="1159" y="645"/>
                    </a:lnTo>
                    <a:lnTo>
                      <a:pt x="1172" y="653"/>
                    </a:lnTo>
                    <a:lnTo>
                      <a:pt x="1189" y="638"/>
                    </a:lnTo>
                    <a:lnTo>
                      <a:pt x="1203" y="637"/>
                    </a:lnTo>
                    <a:lnTo>
                      <a:pt x="1215" y="644"/>
                    </a:lnTo>
                    <a:lnTo>
                      <a:pt x="1226" y="655"/>
                    </a:lnTo>
                    <a:lnTo>
                      <a:pt x="1246" y="655"/>
                    </a:lnTo>
                    <a:lnTo>
                      <a:pt x="1249" y="628"/>
                    </a:lnTo>
                    <a:lnTo>
                      <a:pt x="1260" y="618"/>
                    </a:lnTo>
                    <a:lnTo>
                      <a:pt x="1251" y="593"/>
                    </a:lnTo>
                    <a:lnTo>
                      <a:pt x="1259" y="578"/>
                    </a:lnTo>
                    <a:lnTo>
                      <a:pt x="1320" y="579"/>
                    </a:lnTo>
                    <a:lnTo>
                      <a:pt x="1334" y="595"/>
                    </a:lnTo>
                    <a:lnTo>
                      <a:pt x="1348" y="607"/>
                    </a:lnTo>
                    <a:lnTo>
                      <a:pt x="1359" y="621"/>
                    </a:lnTo>
                    <a:lnTo>
                      <a:pt x="1362" y="638"/>
                    </a:lnTo>
                    <a:lnTo>
                      <a:pt x="1373" y="651"/>
                    </a:lnTo>
                    <a:lnTo>
                      <a:pt x="1398" y="656"/>
                    </a:lnTo>
                    <a:lnTo>
                      <a:pt x="1409" y="667"/>
                    </a:lnTo>
                    <a:lnTo>
                      <a:pt x="1421" y="675"/>
                    </a:lnTo>
                    <a:lnTo>
                      <a:pt x="1427" y="684"/>
                    </a:lnTo>
                    <a:lnTo>
                      <a:pt x="1442" y="685"/>
                    </a:lnTo>
                    <a:lnTo>
                      <a:pt x="1467" y="681"/>
                    </a:lnTo>
                    <a:lnTo>
                      <a:pt x="1472" y="688"/>
                    </a:lnTo>
                    <a:lnTo>
                      <a:pt x="1475" y="701"/>
                    </a:lnTo>
                    <a:lnTo>
                      <a:pt x="1464" y="708"/>
                    </a:lnTo>
                    <a:lnTo>
                      <a:pt x="1463" y="744"/>
                    </a:lnTo>
                    <a:lnTo>
                      <a:pt x="1449" y="742"/>
                    </a:lnTo>
                    <a:lnTo>
                      <a:pt x="1442" y="757"/>
                    </a:lnTo>
                    <a:lnTo>
                      <a:pt x="1442" y="773"/>
                    </a:lnTo>
                    <a:lnTo>
                      <a:pt x="1457" y="776"/>
                    </a:lnTo>
                    <a:lnTo>
                      <a:pt x="1475" y="782"/>
                    </a:lnTo>
                    <a:lnTo>
                      <a:pt x="1498" y="764"/>
                    </a:lnTo>
                    <a:lnTo>
                      <a:pt x="1516" y="735"/>
                    </a:lnTo>
                    <a:lnTo>
                      <a:pt x="1531" y="701"/>
                    </a:lnTo>
                    <a:lnTo>
                      <a:pt x="1544" y="667"/>
                    </a:lnTo>
                    <a:lnTo>
                      <a:pt x="1537" y="634"/>
                    </a:lnTo>
                    <a:lnTo>
                      <a:pt x="1542" y="624"/>
                    </a:lnTo>
                    <a:lnTo>
                      <a:pt x="1538" y="588"/>
                    </a:lnTo>
                    <a:lnTo>
                      <a:pt x="1523" y="566"/>
                    </a:lnTo>
                    <a:lnTo>
                      <a:pt x="1499" y="558"/>
                    </a:lnTo>
                    <a:lnTo>
                      <a:pt x="1492" y="572"/>
                    </a:lnTo>
                    <a:lnTo>
                      <a:pt x="1482" y="573"/>
                    </a:lnTo>
                    <a:lnTo>
                      <a:pt x="1480" y="560"/>
                    </a:lnTo>
                    <a:lnTo>
                      <a:pt x="1457" y="548"/>
                    </a:lnTo>
                    <a:lnTo>
                      <a:pt x="1453" y="537"/>
                    </a:lnTo>
                    <a:lnTo>
                      <a:pt x="1467" y="523"/>
                    </a:lnTo>
                    <a:lnTo>
                      <a:pt x="1483" y="497"/>
                    </a:lnTo>
                    <a:lnTo>
                      <a:pt x="1492" y="478"/>
                    </a:lnTo>
                    <a:lnTo>
                      <a:pt x="1503" y="461"/>
                    </a:lnTo>
                    <a:lnTo>
                      <a:pt x="1537" y="452"/>
                    </a:lnTo>
                    <a:lnTo>
                      <a:pt x="1564" y="450"/>
                    </a:lnTo>
                    <a:lnTo>
                      <a:pt x="1602" y="454"/>
                    </a:lnTo>
                    <a:lnTo>
                      <a:pt x="1610" y="439"/>
                    </a:lnTo>
                    <a:lnTo>
                      <a:pt x="1637" y="446"/>
                    </a:lnTo>
                    <a:lnTo>
                      <a:pt x="1637" y="455"/>
                    </a:lnTo>
                    <a:lnTo>
                      <a:pt x="1675" y="450"/>
                    </a:lnTo>
                    <a:lnTo>
                      <a:pt x="1677" y="432"/>
                    </a:lnTo>
                    <a:lnTo>
                      <a:pt x="1683" y="408"/>
                    </a:lnTo>
                    <a:lnTo>
                      <a:pt x="1691" y="394"/>
                    </a:lnTo>
                    <a:lnTo>
                      <a:pt x="1728" y="394"/>
                    </a:lnTo>
                    <a:lnTo>
                      <a:pt x="1741" y="410"/>
                    </a:lnTo>
                    <a:lnTo>
                      <a:pt x="1749" y="413"/>
                    </a:lnTo>
                    <a:lnTo>
                      <a:pt x="1762" y="391"/>
                    </a:lnTo>
                    <a:lnTo>
                      <a:pt x="1771" y="387"/>
                    </a:lnTo>
                    <a:lnTo>
                      <a:pt x="1781" y="405"/>
                    </a:lnTo>
                    <a:lnTo>
                      <a:pt x="1773" y="421"/>
                    </a:lnTo>
                    <a:lnTo>
                      <a:pt x="1753" y="437"/>
                    </a:lnTo>
                    <a:lnTo>
                      <a:pt x="1736" y="463"/>
                    </a:lnTo>
                    <a:lnTo>
                      <a:pt x="1720" y="483"/>
                    </a:lnTo>
                    <a:lnTo>
                      <a:pt x="1718" y="512"/>
                    </a:lnTo>
                    <a:lnTo>
                      <a:pt x="1722" y="543"/>
                    </a:lnTo>
                    <a:lnTo>
                      <a:pt x="1734" y="564"/>
                    </a:lnTo>
                    <a:lnTo>
                      <a:pt x="1741" y="589"/>
                    </a:lnTo>
                    <a:lnTo>
                      <a:pt x="1751" y="604"/>
                    </a:lnTo>
                    <a:lnTo>
                      <a:pt x="1763" y="612"/>
                    </a:lnTo>
                    <a:lnTo>
                      <a:pt x="1777" y="589"/>
                    </a:lnTo>
                    <a:lnTo>
                      <a:pt x="1791" y="561"/>
                    </a:lnTo>
                    <a:lnTo>
                      <a:pt x="1791" y="545"/>
                    </a:lnTo>
                    <a:lnTo>
                      <a:pt x="1805" y="545"/>
                    </a:lnTo>
                    <a:lnTo>
                      <a:pt x="1803" y="526"/>
                    </a:lnTo>
                    <a:lnTo>
                      <a:pt x="1805" y="511"/>
                    </a:lnTo>
                    <a:lnTo>
                      <a:pt x="1814" y="509"/>
                    </a:lnTo>
                    <a:lnTo>
                      <a:pt x="1808" y="498"/>
                    </a:lnTo>
                    <a:lnTo>
                      <a:pt x="1792" y="480"/>
                    </a:lnTo>
                    <a:lnTo>
                      <a:pt x="1790" y="480"/>
                    </a:lnTo>
                    <a:lnTo>
                      <a:pt x="1789" y="480"/>
                    </a:lnTo>
                    <a:lnTo>
                      <a:pt x="1788" y="480"/>
                    </a:lnTo>
                    <a:lnTo>
                      <a:pt x="1787" y="479"/>
                    </a:lnTo>
                    <a:lnTo>
                      <a:pt x="1786" y="478"/>
                    </a:lnTo>
                    <a:lnTo>
                      <a:pt x="1785" y="478"/>
                    </a:lnTo>
                    <a:lnTo>
                      <a:pt x="1785" y="477"/>
                    </a:lnTo>
                    <a:lnTo>
                      <a:pt x="1783" y="476"/>
                    </a:lnTo>
                    <a:lnTo>
                      <a:pt x="1783" y="475"/>
                    </a:lnTo>
                    <a:lnTo>
                      <a:pt x="1783" y="472"/>
                    </a:lnTo>
                    <a:lnTo>
                      <a:pt x="1783" y="469"/>
                    </a:lnTo>
                    <a:lnTo>
                      <a:pt x="1784" y="467"/>
                    </a:lnTo>
                    <a:lnTo>
                      <a:pt x="1784" y="465"/>
                    </a:lnTo>
                    <a:lnTo>
                      <a:pt x="1785" y="462"/>
                    </a:lnTo>
                    <a:lnTo>
                      <a:pt x="1785" y="460"/>
                    </a:lnTo>
                    <a:lnTo>
                      <a:pt x="1786" y="458"/>
                    </a:lnTo>
                    <a:lnTo>
                      <a:pt x="1787" y="455"/>
                    </a:lnTo>
                    <a:lnTo>
                      <a:pt x="1787" y="454"/>
                    </a:lnTo>
                    <a:lnTo>
                      <a:pt x="1787" y="452"/>
                    </a:lnTo>
                    <a:lnTo>
                      <a:pt x="1787" y="451"/>
                    </a:lnTo>
                    <a:lnTo>
                      <a:pt x="1788" y="450"/>
                    </a:lnTo>
                    <a:lnTo>
                      <a:pt x="1797" y="439"/>
                    </a:lnTo>
                    <a:lnTo>
                      <a:pt x="1820" y="428"/>
                    </a:lnTo>
                    <a:lnTo>
                      <a:pt x="1832" y="419"/>
                    </a:lnTo>
                    <a:lnTo>
                      <a:pt x="1851" y="416"/>
                    </a:lnTo>
                    <a:lnTo>
                      <a:pt x="1862" y="419"/>
                    </a:lnTo>
                    <a:lnTo>
                      <a:pt x="1872" y="432"/>
                    </a:lnTo>
                    <a:lnTo>
                      <a:pt x="1880" y="438"/>
                    </a:lnTo>
                    <a:lnTo>
                      <a:pt x="1887" y="412"/>
                    </a:lnTo>
                    <a:lnTo>
                      <a:pt x="1895" y="405"/>
                    </a:lnTo>
                    <a:lnTo>
                      <a:pt x="1898" y="391"/>
                    </a:lnTo>
                    <a:lnTo>
                      <a:pt x="1918" y="392"/>
                    </a:lnTo>
                    <a:lnTo>
                      <a:pt x="1937" y="378"/>
                    </a:lnTo>
                    <a:lnTo>
                      <a:pt x="1948" y="376"/>
                    </a:lnTo>
                    <a:lnTo>
                      <a:pt x="1969" y="384"/>
                    </a:lnTo>
                    <a:lnTo>
                      <a:pt x="1974" y="373"/>
                    </a:lnTo>
                    <a:lnTo>
                      <a:pt x="1955" y="349"/>
                    </a:lnTo>
                    <a:lnTo>
                      <a:pt x="1929" y="332"/>
                    </a:lnTo>
                    <a:lnTo>
                      <a:pt x="1939" y="323"/>
                    </a:lnTo>
                    <a:lnTo>
                      <a:pt x="1957" y="311"/>
                    </a:lnTo>
                    <a:lnTo>
                      <a:pt x="1950" y="302"/>
                    </a:lnTo>
                    <a:lnTo>
                      <a:pt x="1950" y="286"/>
                    </a:lnTo>
                    <a:lnTo>
                      <a:pt x="1967" y="281"/>
                    </a:lnTo>
                    <a:lnTo>
                      <a:pt x="1973" y="298"/>
                    </a:lnTo>
                    <a:lnTo>
                      <a:pt x="1978" y="311"/>
                    </a:lnTo>
                    <a:lnTo>
                      <a:pt x="2005" y="313"/>
                    </a:lnTo>
                    <a:lnTo>
                      <a:pt x="2016" y="325"/>
                    </a:lnTo>
                    <a:lnTo>
                      <a:pt x="2035" y="326"/>
                    </a:lnTo>
                    <a:lnTo>
                      <a:pt x="2046" y="341"/>
                    </a:lnTo>
                    <a:lnTo>
                      <a:pt x="2055" y="344"/>
                    </a:lnTo>
                    <a:lnTo>
                      <a:pt x="2068" y="332"/>
                    </a:lnTo>
                    <a:lnTo>
                      <a:pt x="2055" y="317"/>
                    </a:lnTo>
                    <a:lnTo>
                      <a:pt x="2059" y="305"/>
                    </a:lnTo>
                    <a:lnTo>
                      <a:pt x="2070" y="305"/>
                    </a:lnTo>
                    <a:lnTo>
                      <a:pt x="2081" y="300"/>
                    </a:lnTo>
                    <a:lnTo>
                      <a:pt x="2084" y="282"/>
                    </a:lnTo>
                    <a:lnTo>
                      <a:pt x="2057" y="282"/>
                    </a:lnTo>
                    <a:lnTo>
                      <a:pt x="2041" y="271"/>
                    </a:lnTo>
                    <a:lnTo>
                      <a:pt x="2018" y="275"/>
                    </a:lnTo>
                    <a:lnTo>
                      <a:pt x="2012" y="284"/>
                    </a:lnTo>
                    <a:lnTo>
                      <a:pt x="2003" y="268"/>
                    </a:lnTo>
                    <a:lnTo>
                      <a:pt x="1997" y="260"/>
                    </a:lnTo>
                    <a:lnTo>
                      <a:pt x="1976" y="254"/>
                    </a:lnTo>
                    <a:lnTo>
                      <a:pt x="1973" y="242"/>
                    </a:lnTo>
                    <a:lnTo>
                      <a:pt x="1944" y="242"/>
                    </a:lnTo>
                    <a:lnTo>
                      <a:pt x="1931" y="227"/>
                    </a:lnTo>
                    <a:lnTo>
                      <a:pt x="1912" y="216"/>
                    </a:lnTo>
                    <a:lnTo>
                      <a:pt x="1894" y="215"/>
                    </a:lnTo>
                    <a:lnTo>
                      <a:pt x="1874" y="207"/>
                    </a:lnTo>
                    <a:lnTo>
                      <a:pt x="1865" y="201"/>
                    </a:lnTo>
                    <a:lnTo>
                      <a:pt x="1846" y="194"/>
                    </a:lnTo>
                    <a:lnTo>
                      <a:pt x="1819" y="194"/>
                    </a:lnTo>
                    <a:lnTo>
                      <a:pt x="1787" y="191"/>
                    </a:lnTo>
                    <a:lnTo>
                      <a:pt x="1783" y="210"/>
                    </a:lnTo>
                    <a:lnTo>
                      <a:pt x="1768" y="213"/>
                    </a:lnTo>
                    <a:lnTo>
                      <a:pt x="1759" y="204"/>
                    </a:lnTo>
                    <a:lnTo>
                      <a:pt x="1743" y="207"/>
                    </a:lnTo>
                    <a:lnTo>
                      <a:pt x="1722" y="199"/>
                    </a:lnTo>
                    <a:lnTo>
                      <a:pt x="1687" y="204"/>
                    </a:lnTo>
                    <a:lnTo>
                      <a:pt x="1679" y="216"/>
                    </a:lnTo>
                    <a:lnTo>
                      <a:pt x="1667" y="212"/>
                    </a:lnTo>
                    <a:lnTo>
                      <a:pt x="1650" y="198"/>
                    </a:lnTo>
                    <a:lnTo>
                      <a:pt x="1634" y="181"/>
                    </a:lnTo>
                    <a:lnTo>
                      <a:pt x="1594" y="172"/>
                    </a:lnTo>
                    <a:lnTo>
                      <a:pt x="1581" y="176"/>
                    </a:lnTo>
                    <a:lnTo>
                      <a:pt x="1571" y="180"/>
                    </a:lnTo>
                    <a:lnTo>
                      <a:pt x="1549" y="176"/>
                    </a:lnTo>
                    <a:lnTo>
                      <a:pt x="1522" y="162"/>
                    </a:lnTo>
                    <a:lnTo>
                      <a:pt x="1504" y="154"/>
                    </a:lnTo>
                    <a:lnTo>
                      <a:pt x="1501" y="146"/>
                    </a:lnTo>
                    <a:lnTo>
                      <a:pt x="1458" y="146"/>
                    </a:lnTo>
                    <a:lnTo>
                      <a:pt x="1446" y="151"/>
                    </a:lnTo>
                    <a:lnTo>
                      <a:pt x="1433" y="136"/>
                    </a:lnTo>
                    <a:lnTo>
                      <a:pt x="1409" y="136"/>
                    </a:lnTo>
                    <a:lnTo>
                      <a:pt x="1399" y="123"/>
                    </a:lnTo>
                    <a:lnTo>
                      <a:pt x="1386" y="131"/>
                    </a:lnTo>
                    <a:lnTo>
                      <a:pt x="1373" y="140"/>
                    </a:lnTo>
                    <a:lnTo>
                      <a:pt x="1381" y="159"/>
                    </a:lnTo>
                    <a:lnTo>
                      <a:pt x="1363" y="163"/>
                    </a:lnTo>
                    <a:lnTo>
                      <a:pt x="1341" y="159"/>
                    </a:lnTo>
                    <a:lnTo>
                      <a:pt x="1323" y="158"/>
                    </a:lnTo>
                    <a:lnTo>
                      <a:pt x="1312" y="165"/>
                    </a:lnTo>
                    <a:lnTo>
                      <a:pt x="1296" y="157"/>
                    </a:lnTo>
                    <a:lnTo>
                      <a:pt x="1287" y="147"/>
                    </a:lnTo>
                    <a:lnTo>
                      <a:pt x="1285" y="163"/>
                    </a:lnTo>
                    <a:lnTo>
                      <a:pt x="1262" y="165"/>
                    </a:lnTo>
                    <a:lnTo>
                      <a:pt x="1233" y="156"/>
                    </a:lnTo>
                    <a:lnTo>
                      <a:pt x="1215" y="149"/>
                    </a:lnTo>
                    <a:lnTo>
                      <a:pt x="1220" y="140"/>
                    </a:lnTo>
                    <a:lnTo>
                      <a:pt x="1233" y="136"/>
                    </a:lnTo>
                    <a:lnTo>
                      <a:pt x="1223" y="116"/>
                    </a:lnTo>
                    <a:lnTo>
                      <a:pt x="1199" y="107"/>
                    </a:lnTo>
                    <a:lnTo>
                      <a:pt x="1168" y="109"/>
                    </a:lnTo>
                    <a:lnTo>
                      <a:pt x="1159" y="133"/>
                    </a:lnTo>
                    <a:lnTo>
                      <a:pt x="1134" y="125"/>
                    </a:lnTo>
                    <a:lnTo>
                      <a:pt x="1113" y="115"/>
                    </a:lnTo>
                    <a:lnTo>
                      <a:pt x="1081" y="107"/>
                    </a:lnTo>
                    <a:lnTo>
                      <a:pt x="1020" y="107"/>
                    </a:lnTo>
                    <a:lnTo>
                      <a:pt x="999" y="107"/>
                    </a:lnTo>
                    <a:lnTo>
                      <a:pt x="978" y="116"/>
                    </a:lnTo>
                    <a:lnTo>
                      <a:pt x="948" y="126"/>
                    </a:lnTo>
                    <a:lnTo>
                      <a:pt x="964" y="109"/>
                    </a:lnTo>
                    <a:lnTo>
                      <a:pt x="993" y="93"/>
                    </a:lnTo>
                    <a:lnTo>
                      <a:pt x="1005" y="87"/>
                    </a:lnTo>
                    <a:lnTo>
                      <a:pt x="1020" y="72"/>
                    </a:lnTo>
                    <a:lnTo>
                      <a:pt x="1024" y="51"/>
                    </a:lnTo>
                    <a:lnTo>
                      <a:pt x="1003" y="42"/>
                    </a:lnTo>
                    <a:lnTo>
                      <a:pt x="994" y="29"/>
                    </a:lnTo>
                    <a:lnTo>
                      <a:pt x="947" y="25"/>
                    </a:lnTo>
                    <a:lnTo>
                      <a:pt x="938" y="35"/>
                    </a:lnTo>
                    <a:lnTo>
                      <a:pt x="922" y="27"/>
                    </a:lnTo>
                    <a:lnTo>
                      <a:pt x="916" y="15"/>
                    </a:lnTo>
                    <a:lnTo>
                      <a:pt x="903" y="6"/>
                    </a:lnTo>
                    <a:lnTo>
                      <a:pt x="892" y="0"/>
                    </a:lnTo>
                    <a:lnTo>
                      <a:pt x="869" y="9"/>
                    </a:lnTo>
                    <a:lnTo>
                      <a:pt x="863" y="29"/>
                    </a:lnTo>
                    <a:lnTo>
                      <a:pt x="859" y="36"/>
                    </a:lnTo>
                    <a:lnTo>
                      <a:pt x="870" y="40"/>
                    </a:lnTo>
                    <a:lnTo>
                      <a:pt x="853" y="48"/>
                    </a:lnTo>
                    <a:lnTo>
                      <a:pt x="829" y="43"/>
                    </a:lnTo>
                    <a:lnTo>
                      <a:pt x="814" y="46"/>
                    </a:lnTo>
                    <a:lnTo>
                      <a:pt x="806" y="53"/>
                    </a:lnTo>
                    <a:lnTo>
                      <a:pt x="796" y="41"/>
                    </a:lnTo>
                    <a:lnTo>
                      <a:pt x="781" y="47"/>
                    </a:lnTo>
                    <a:lnTo>
                      <a:pt x="770" y="43"/>
                    </a:lnTo>
                    <a:lnTo>
                      <a:pt x="769" y="55"/>
                    </a:lnTo>
                    <a:lnTo>
                      <a:pt x="743" y="57"/>
                    </a:lnTo>
                    <a:lnTo>
                      <a:pt x="721" y="59"/>
                    </a:lnTo>
                    <a:lnTo>
                      <a:pt x="706" y="69"/>
                    </a:lnTo>
                    <a:lnTo>
                      <a:pt x="689" y="75"/>
                    </a:lnTo>
                    <a:lnTo>
                      <a:pt x="689" y="87"/>
                    </a:lnTo>
                    <a:lnTo>
                      <a:pt x="702" y="91"/>
                    </a:lnTo>
                    <a:lnTo>
                      <a:pt x="706" y="107"/>
                    </a:lnTo>
                    <a:lnTo>
                      <a:pt x="683" y="104"/>
                    </a:lnTo>
                    <a:lnTo>
                      <a:pt x="654" y="106"/>
                    </a:lnTo>
                    <a:lnTo>
                      <a:pt x="638" y="112"/>
                    </a:lnTo>
                    <a:lnTo>
                      <a:pt x="634" y="129"/>
                    </a:lnTo>
                    <a:lnTo>
                      <a:pt x="642" y="142"/>
                    </a:lnTo>
                    <a:lnTo>
                      <a:pt x="654" y="143"/>
                    </a:lnTo>
                    <a:lnTo>
                      <a:pt x="664" y="156"/>
                    </a:lnTo>
                    <a:lnTo>
                      <a:pt x="674" y="172"/>
                    </a:lnTo>
                    <a:lnTo>
                      <a:pt x="672" y="184"/>
                    </a:lnTo>
                    <a:lnTo>
                      <a:pt x="651" y="163"/>
                    </a:lnTo>
                    <a:lnTo>
                      <a:pt x="630" y="157"/>
                    </a:lnTo>
                    <a:lnTo>
                      <a:pt x="620" y="143"/>
                    </a:lnTo>
                    <a:lnTo>
                      <a:pt x="607" y="144"/>
                    </a:lnTo>
                    <a:lnTo>
                      <a:pt x="601" y="161"/>
                    </a:lnTo>
                    <a:lnTo>
                      <a:pt x="607" y="170"/>
                    </a:lnTo>
                    <a:lnTo>
                      <a:pt x="609" y="178"/>
                    </a:lnTo>
                    <a:lnTo>
                      <a:pt x="591" y="172"/>
                    </a:lnTo>
                    <a:lnTo>
                      <a:pt x="573" y="157"/>
                    </a:lnTo>
                    <a:lnTo>
                      <a:pt x="571" y="138"/>
                    </a:lnTo>
                    <a:lnTo>
                      <a:pt x="564" y="127"/>
                    </a:lnTo>
                    <a:lnTo>
                      <a:pt x="554" y="137"/>
                    </a:lnTo>
                    <a:lnTo>
                      <a:pt x="557" y="152"/>
                    </a:lnTo>
                    <a:lnTo>
                      <a:pt x="554" y="162"/>
                    </a:lnTo>
                    <a:lnTo>
                      <a:pt x="557" y="172"/>
                    </a:lnTo>
                    <a:lnTo>
                      <a:pt x="564" y="175"/>
                    </a:lnTo>
                    <a:lnTo>
                      <a:pt x="567" y="202"/>
                    </a:lnTo>
                    <a:lnTo>
                      <a:pt x="570" y="216"/>
                    </a:lnTo>
                    <a:lnTo>
                      <a:pt x="588" y="218"/>
                    </a:lnTo>
                    <a:lnTo>
                      <a:pt x="591" y="210"/>
                    </a:lnTo>
                    <a:lnTo>
                      <a:pt x="605" y="216"/>
                    </a:lnTo>
                    <a:lnTo>
                      <a:pt x="614" y="220"/>
                    </a:lnTo>
                    <a:lnTo>
                      <a:pt x="620" y="228"/>
                    </a:lnTo>
                    <a:lnTo>
                      <a:pt x="623" y="242"/>
                    </a:lnTo>
                    <a:lnTo>
                      <a:pt x="631" y="249"/>
                    </a:lnTo>
                    <a:lnTo>
                      <a:pt x="640" y="253"/>
                    </a:lnTo>
                    <a:lnTo>
                      <a:pt x="640" y="264"/>
                    </a:lnTo>
                    <a:lnTo>
                      <a:pt x="627" y="256"/>
                    </a:lnTo>
                    <a:lnTo>
                      <a:pt x="617" y="244"/>
                    </a:lnTo>
                    <a:lnTo>
                      <a:pt x="602" y="233"/>
                    </a:lnTo>
                    <a:lnTo>
                      <a:pt x="586" y="233"/>
                    </a:lnTo>
                    <a:lnTo>
                      <a:pt x="585" y="238"/>
                    </a:lnTo>
                    <a:lnTo>
                      <a:pt x="582" y="249"/>
                    </a:lnTo>
                    <a:lnTo>
                      <a:pt x="575" y="265"/>
                    </a:lnTo>
                    <a:lnTo>
                      <a:pt x="564" y="284"/>
                    </a:lnTo>
                    <a:lnTo>
                      <a:pt x="548" y="291"/>
                    </a:lnTo>
                    <a:lnTo>
                      <a:pt x="525" y="283"/>
                    </a:lnTo>
                    <a:lnTo>
                      <a:pt x="528" y="275"/>
                    </a:lnTo>
                    <a:lnTo>
                      <a:pt x="543" y="270"/>
                    </a:lnTo>
                    <a:lnTo>
                      <a:pt x="557" y="262"/>
                    </a:lnTo>
                    <a:lnTo>
                      <a:pt x="557" y="261"/>
                    </a:lnTo>
                    <a:lnTo>
                      <a:pt x="558" y="260"/>
                    </a:lnTo>
                    <a:lnTo>
                      <a:pt x="559" y="258"/>
                    </a:lnTo>
                    <a:lnTo>
                      <a:pt x="559" y="256"/>
                    </a:lnTo>
                    <a:lnTo>
                      <a:pt x="560" y="254"/>
                    </a:lnTo>
                    <a:lnTo>
                      <a:pt x="561" y="253"/>
                    </a:lnTo>
                    <a:lnTo>
                      <a:pt x="561" y="250"/>
                    </a:lnTo>
                    <a:lnTo>
                      <a:pt x="561" y="249"/>
                    </a:lnTo>
                    <a:lnTo>
                      <a:pt x="561" y="247"/>
                    </a:lnTo>
                    <a:lnTo>
                      <a:pt x="562" y="246"/>
                    </a:lnTo>
                    <a:lnTo>
                      <a:pt x="561" y="244"/>
                    </a:lnTo>
                    <a:lnTo>
                      <a:pt x="561" y="243"/>
                    </a:lnTo>
                    <a:lnTo>
                      <a:pt x="561" y="241"/>
                    </a:lnTo>
                    <a:lnTo>
                      <a:pt x="560" y="238"/>
                    </a:lnTo>
                    <a:lnTo>
                      <a:pt x="559" y="235"/>
                    </a:lnTo>
                    <a:lnTo>
                      <a:pt x="558" y="233"/>
                    </a:lnTo>
                    <a:lnTo>
                      <a:pt x="557" y="231"/>
                    </a:lnTo>
                    <a:lnTo>
                      <a:pt x="556" y="228"/>
                    </a:lnTo>
                    <a:lnTo>
                      <a:pt x="555" y="227"/>
                    </a:lnTo>
                    <a:lnTo>
                      <a:pt x="554" y="225"/>
                    </a:lnTo>
                    <a:lnTo>
                      <a:pt x="554" y="224"/>
                    </a:lnTo>
                    <a:lnTo>
                      <a:pt x="550" y="209"/>
                    </a:lnTo>
                    <a:lnTo>
                      <a:pt x="550" y="198"/>
                    </a:lnTo>
                    <a:lnTo>
                      <a:pt x="545" y="184"/>
                    </a:lnTo>
                    <a:lnTo>
                      <a:pt x="541" y="167"/>
                    </a:lnTo>
                    <a:lnTo>
                      <a:pt x="535" y="142"/>
                    </a:lnTo>
                    <a:lnTo>
                      <a:pt x="530" y="123"/>
                    </a:lnTo>
                    <a:lnTo>
                      <a:pt x="517" y="109"/>
                    </a:lnTo>
                    <a:lnTo>
                      <a:pt x="498" y="110"/>
                    </a:lnTo>
                    <a:lnTo>
                      <a:pt x="488" y="135"/>
                    </a:lnTo>
                    <a:lnTo>
                      <a:pt x="485" y="159"/>
                    </a:lnTo>
                    <a:lnTo>
                      <a:pt x="469" y="170"/>
                    </a:lnTo>
                    <a:lnTo>
                      <a:pt x="470" y="186"/>
                    </a:lnTo>
                    <a:lnTo>
                      <a:pt x="480" y="201"/>
                    </a:lnTo>
                    <a:lnTo>
                      <a:pt x="491" y="216"/>
                    </a:lnTo>
                    <a:lnTo>
                      <a:pt x="499" y="228"/>
                    </a:lnTo>
                    <a:lnTo>
                      <a:pt x="503" y="239"/>
                    </a:lnTo>
                    <a:lnTo>
                      <a:pt x="490" y="244"/>
                    </a:lnTo>
                    <a:lnTo>
                      <a:pt x="476" y="226"/>
                    </a:lnTo>
                    <a:lnTo>
                      <a:pt x="452" y="212"/>
                    </a:lnTo>
                    <a:lnTo>
                      <a:pt x="424" y="204"/>
                    </a:lnTo>
                    <a:lnTo>
                      <a:pt x="399" y="204"/>
                    </a:lnTo>
                    <a:lnTo>
                      <a:pt x="393" y="213"/>
                    </a:lnTo>
                    <a:lnTo>
                      <a:pt x="401" y="218"/>
                    </a:lnTo>
                    <a:lnTo>
                      <a:pt x="399" y="237"/>
                    </a:lnTo>
                    <a:lnTo>
                      <a:pt x="387" y="241"/>
                    </a:lnTo>
                    <a:lnTo>
                      <a:pt x="384" y="224"/>
                    </a:lnTo>
                    <a:lnTo>
                      <a:pt x="373" y="224"/>
                    </a:lnTo>
                    <a:lnTo>
                      <a:pt x="364" y="236"/>
                    </a:lnTo>
                    <a:lnTo>
                      <a:pt x="333" y="236"/>
                    </a:lnTo>
                    <a:lnTo>
                      <a:pt x="322" y="249"/>
                    </a:lnTo>
                    <a:lnTo>
                      <a:pt x="314" y="233"/>
                    </a:lnTo>
                    <a:lnTo>
                      <a:pt x="303" y="236"/>
                    </a:lnTo>
                    <a:lnTo>
                      <a:pt x="287" y="243"/>
                    </a:lnTo>
                    <a:lnTo>
                      <a:pt x="270" y="249"/>
                    </a:lnTo>
                    <a:lnTo>
                      <a:pt x="251" y="267"/>
                    </a:lnTo>
                    <a:lnTo>
                      <a:pt x="230" y="277"/>
                    </a:lnTo>
                    <a:lnTo>
                      <a:pt x="223" y="264"/>
                    </a:lnTo>
                    <a:lnTo>
                      <a:pt x="223" y="252"/>
                    </a:lnTo>
                    <a:lnTo>
                      <a:pt x="208" y="237"/>
                    </a:lnTo>
                    <a:lnTo>
                      <a:pt x="187" y="239"/>
                    </a:lnTo>
                    <a:lnTo>
                      <a:pt x="192" y="252"/>
                    </a:lnTo>
                    <a:lnTo>
                      <a:pt x="197" y="267"/>
                    </a:lnTo>
                    <a:lnTo>
                      <a:pt x="203" y="281"/>
                    </a:lnTo>
                    <a:lnTo>
                      <a:pt x="204" y="298"/>
                    </a:lnTo>
                    <a:lnTo>
                      <a:pt x="190" y="291"/>
                    </a:lnTo>
                    <a:lnTo>
                      <a:pt x="175" y="288"/>
                    </a:lnTo>
                    <a:lnTo>
                      <a:pt x="166" y="298"/>
                    </a:lnTo>
                    <a:lnTo>
                      <a:pt x="147" y="304"/>
                    </a:lnTo>
                    <a:lnTo>
                      <a:pt x="146" y="316"/>
                    </a:lnTo>
                    <a:lnTo>
                      <a:pt x="157" y="322"/>
                    </a:lnTo>
                    <a:lnTo>
                      <a:pt x="153" y="338"/>
                    </a:lnTo>
                    <a:lnTo>
                      <a:pt x="138" y="338"/>
                    </a:lnTo>
                    <a:lnTo>
                      <a:pt x="138" y="322"/>
                    </a:lnTo>
                    <a:lnTo>
                      <a:pt x="124" y="316"/>
                    </a:lnTo>
                    <a:lnTo>
                      <a:pt x="109" y="322"/>
                    </a:lnTo>
                    <a:lnTo>
                      <a:pt x="111" y="334"/>
                    </a:lnTo>
                    <a:lnTo>
                      <a:pt x="121" y="338"/>
                    </a:lnTo>
                    <a:lnTo>
                      <a:pt x="125" y="344"/>
                    </a:lnTo>
                    <a:lnTo>
                      <a:pt x="117" y="352"/>
                    </a:lnTo>
                    <a:lnTo>
                      <a:pt x="102" y="341"/>
                    </a:lnTo>
                    <a:lnTo>
                      <a:pt x="91" y="326"/>
                    </a:lnTo>
                    <a:lnTo>
                      <a:pt x="83" y="311"/>
                    </a:lnTo>
                    <a:lnTo>
                      <a:pt x="80" y="289"/>
                    </a:lnTo>
                    <a:lnTo>
                      <a:pt x="74" y="281"/>
                    </a:lnTo>
                    <a:lnTo>
                      <a:pt x="90" y="286"/>
                    </a:lnTo>
                    <a:lnTo>
                      <a:pt x="115" y="293"/>
                    </a:lnTo>
                    <a:lnTo>
                      <a:pt x="138" y="287"/>
                    </a:lnTo>
                    <a:lnTo>
                      <a:pt x="149" y="277"/>
                    </a:lnTo>
                    <a:lnTo>
                      <a:pt x="155" y="265"/>
                    </a:lnTo>
                    <a:lnTo>
                      <a:pt x="130" y="247"/>
                    </a:lnTo>
                    <a:lnTo>
                      <a:pt x="100" y="233"/>
                    </a:lnTo>
                    <a:lnTo>
                      <a:pt x="69" y="216"/>
                    </a:lnTo>
                    <a:lnTo>
                      <a:pt x="53" y="209"/>
                    </a:lnTo>
                    <a:lnTo>
                      <a:pt x="36" y="220"/>
                    </a:lnTo>
                    <a:lnTo>
                      <a:pt x="20" y="237"/>
                    </a:lnTo>
                    <a:lnTo>
                      <a:pt x="14" y="252"/>
                    </a:lnTo>
                    <a:lnTo>
                      <a:pt x="14" y="267"/>
                    </a:lnTo>
                    <a:lnTo>
                      <a:pt x="19" y="288"/>
                    </a:lnTo>
                    <a:lnTo>
                      <a:pt x="20" y="311"/>
                    </a:lnTo>
                    <a:lnTo>
                      <a:pt x="26" y="332"/>
                    </a:lnTo>
                    <a:lnTo>
                      <a:pt x="34" y="354"/>
                    </a:lnTo>
                    <a:lnTo>
                      <a:pt x="42" y="363"/>
                    </a:lnTo>
                    <a:lnTo>
                      <a:pt x="52" y="371"/>
                    </a:lnTo>
                    <a:lnTo>
                      <a:pt x="41" y="381"/>
                    </a:lnTo>
                    <a:lnTo>
                      <a:pt x="25" y="397"/>
                    </a:lnTo>
                    <a:lnTo>
                      <a:pt x="12" y="414"/>
                    </a:lnTo>
                    <a:lnTo>
                      <a:pt x="8" y="427"/>
                    </a:lnTo>
                    <a:lnTo>
                      <a:pt x="9" y="444"/>
                    </a:lnTo>
                    <a:lnTo>
                      <a:pt x="0" y="447"/>
                    </a:lnTo>
                    <a:lnTo>
                      <a:pt x="16" y="470"/>
                    </a:lnTo>
                    <a:lnTo>
                      <a:pt x="39" y="490"/>
                    </a:lnTo>
                    <a:lnTo>
                      <a:pt x="78" y="506"/>
                    </a:lnTo>
                    <a:lnTo>
                      <a:pt x="81" y="557"/>
                    </a:lnTo>
                    <a:lnTo>
                      <a:pt x="75" y="564"/>
                    </a:lnTo>
                    <a:lnTo>
                      <a:pt x="69" y="584"/>
                    </a:lnTo>
                    <a:lnTo>
                      <a:pt x="106" y="582"/>
                    </a:lnTo>
                    <a:lnTo>
                      <a:pt x="114" y="604"/>
                    </a:lnTo>
                    <a:lnTo>
                      <a:pt x="171" y="651"/>
                    </a:lnTo>
                    <a:lnTo>
                      <a:pt x="163" y="695"/>
                    </a:lnTo>
                    <a:lnTo>
                      <a:pt x="169" y="702"/>
                    </a:lnTo>
                    <a:lnTo>
                      <a:pt x="155" y="717"/>
                    </a:lnTo>
                    <a:lnTo>
                      <a:pt x="142" y="729"/>
                    </a:lnTo>
                    <a:lnTo>
                      <a:pt x="138" y="740"/>
                    </a:lnTo>
                    <a:lnTo>
                      <a:pt x="157" y="749"/>
                    </a:lnTo>
                    <a:lnTo>
                      <a:pt x="168" y="761"/>
                    </a:lnTo>
                    <a:lnTo>
                      <a:pt x="199" y="743"/>
                    </a:lnTo>
                    <a:lnTo>
                      <a:pt x="217" y="752"/>
                    </a:lnTo>
                    <a:lnTo>
                      <a:pt x="229" y="752"/>
                    </a:lnTo>
                    <a:lnTo>
                      <a:pt x="242" y="764"/>
                    </a:lnTo>
                    <a:lnTo>
                      <a:pt x="256" y="780"/>
                    </a:lnTo>
                    <a:lnTo>
                      <a:pt x="285" y="773"/>
                    </a:lnTo>
                    <a:lnTo>
                      <a:pt x="277" y="753"/>
                    </a:lnTo>
                    <a:lnTo>
                      <a:pt x="285" y="740"/>
                    </a:lnTo>
                    <a:lnTo>
                      <a:pt x="304" y="721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3" name="Freeform 270">
                <a:extLst>
                  <a:ext uri="{FF2B5EF4-FFF2-40B4-BE49-F238E27FC236}">
                    <a16:creationId xmlns:a16="http://schemas.microsoft.com/office/drawing/2014/main" id="{47318854-A9B3-48A9-9028-1ABB3988CC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2" y="2013"/>
                <a:ext cx="115" cy="66"/>
              </a:xfrm>
              <a:custGeom>
                <a:avLst/>
                <a:gdLst>
                  <a:gd name="T0" fmla="*/ 0 w 104"/>
                  <a:gd name="T1" fmla="*/ 16 h 59"/>
                  <a:gd name="T2" fmla="*/ 40 w 104"/>
                  <a:gd name="T3" fmla="*/ 0 h 59"/>
                  <a:gd name="T4" fmla="*/ 53 w 104"/>
                  <a:gd name="T5" fmla="*/ 9 h 59"/>
                  <a:gd name="T6" fmla="*/ 88 w 104"/>
                  <a:gd name="T7" fmla="*/ 21 h 59"/>
                  <a:gd name="T8" fmla="*/ 103 w 104"/>
                  <a:gd name="T9" fmla="*/ 30 h 59"/>
                  <a:gd name="T10" fmla="*/ 76 w 104"/>
                  <a:gd name="T11" fmla="*/ 48 h 59"/>
                  <a:gd name="T12" fmla="*/ 67 w 104"/>
                  <a:gd name="T13" fmla="*/ 58 h 59"/>
                  <a:gd name="T14" fmla="*/ 58 w 104"/>
                  <a:gd name="T15" fmla="*/ 54 h 59"/>
                  <a:gd name="T16" fmla="*/ 59 w 104"/>
                  <a:gd name="T17" fmla="*/ 44 h 59"/>
                  <a:gd name="T18" fmla="*/ 46 w 104"/>
                  <a:gd name="T19" fmla="*/ 43 h 59"/>
                  <a:gd name="T20" fmla="*/ 44 w 104"/>
                  <a:gd name="T21" fmla="*/ 51 h 59"/>
                  <a:gd name="T22" fmla="*/ 34 w 104"/>
                  <a:gd name="T23" fmla="*/ 52 h 59"/>
                  <a:gd name="T24" fmla="*/ 23 w 104"/>
                  <a:gd name="T25" fmla="*/ 42 h 59"/>
                  <a:gd name="T26" fmla="*/ 0 w 104"/>
                  <a:gd name="T27" fmla="*/ 1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4" h="59">
                    <a:moveTo>
                      <a:pt x="0" y="16"/>
                    </a:moveTo>
                    <a:lnTo>
                      <a:pt x="40" y="0"/>
                    </a:lnTo>
                    <a:lnTo>
                      <a:pt x="53" y="9"/>
                    </a:lnTo>
                    <a:lnTo>
                      <a:pt x="88" y="21"/>
                    </a:lnTo>
                    <a:lnTo>
                      <a:pt x="103" y="30"/>
                    </a:lnTo>
                    <a:lnTo>
                      <a:pt x="76" y="48"/>
                    </a:lnTo>
                    <a:lnTo>
                      <a:pt x="67" y="58"/>
                    </a:lnTo>
                    <a:lnTo>
                      <a:pt x="58" y="54"/>
                    </a:lnTo>
                    <a:lnTo>
                      <a:pt x="59" y="44"/>
                    </a:lnTo>
                    <a:lnTo>
                      <a:pt x="46" y="43"/>
                    </a:lnTo>
                    <a:lnTo>
                      <a:pt x="44" y="51"/>
                    </a:lnTo>
                    <a:lnTo>
                      <a:pt x="34" y="52"/>
                    </a:lnTo>
                    <a:lnTo>
                      <a:pt x="23" y="42"/>
                    </a:lnTo>
                    <a:lnTo>
                      <a:pt x="0" y="16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4" name="Freeform 271">
                <a:extLst>
                  <a:ext uri="{FF2B5EF4-FFF2-40B4-BE49-F238E27FC236}">
                    <a16:creationId xmlns:a16="http://schemas.microsoft.com/office/drawing/2014/main" id="{E911290F-2140-46E1-9E17-4FD63A4221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" y="2043"/>
                <a:ext cx="96" cy="47"/>
              </a:xfrm>
              <a:custGeom>
                <a:avLst/>
                <a:gdLst>
                  <a:gd name="T0" fmla="*/ 36 w 85"/>
                  <a:gd name="T1" fmla="*/ 2 h 41"/>
                  <a:gd name="T2" fmla="*/ 84 w 85"/>
                  <a:gd name="T3" fmla="*/ 0 h 41"/>
                  <a:gd name="T4" fmla="*/ 79 w 85"/>
                  <a:gd name="T5" fmla="*/ 40 h 41"/>
                  <a:gd name="T6" fmla="*/ 67 w 85"/>
                  <a:gd name="T7" fmla="*/ 30 h 41"/>
                  <a:gd name="T8" fmla="*/ 60 w 85"/>
                  <a:gd name="T9" fmla="*/ 28 h 41"/>
                  <a:gd name="T10" fmla="*/ 36 w 85"/>
                  <a:gd name="T11" fmla="*/ 33 h 41"/>
                  <a:gd name="T12" fmla="*/ 20 w 85"/>
                  <a:gd name="T13" fmla="*/ 33 h 41"/>
                  <a:gd name="T14" fmla="*/ 0 w 85"/>
                  <a:gd name="T15" fmla="*/ 29 h 41"/>
                  <a:gd name="T16" fmla="*/ 9 w 85"/>
                  <a:gd name="T17" fmla="*/ 20 h 41"/>
                  <a:gd name="T18" fmla="*/ 36 w 85"/>
                  <a:gd name="T19" fmla="*/ 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41">
                    <a:moveTo>
                      <a:pt x="36" y="2"/>
                    </a:moveTo>
                    <a:lnTo>
                      <a:pt x="84" y="0"/>
                    </a:lnTo>
                    <a:lnTo>
                      <a:pt x="79" y="40"/>
                    </a:lnTo>
                    <a:lnTo>
                      <a:pt x="67" y="30"/>
                    </a:lnTo>
                    <a:lnTo>
                      <a:pt x="60" y="28"/>
                    </a:lnTo>
                    <a:lnTo>
                      <a:pt x="36" y="33"/>
                    </a:lnTo>
                    <a:lnTo>
                      <a:pt x="20" y="33"/>
                    </a:lnTo>
                    <a:lnTo>
                      <a:pt x="0" y="29"/>
                    </a:lnTo>
                    <a:lnTo>
                      <a:pt x="9" y="20"/>
                    </a:lnTo>
                    <a:lnTo>
                      <a:pt x="36" y="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5" name="Freeform 272">
                <a:extLst>
                  <a:ext uri="{FF2B5EF4-FFF2-40B4-BE49-F238E27FC236}">
                    <a16:creationId xmlns:a16="http://schemas.microsoft.com/office/drawing/2014/main" id="{2DA70DBE-F72E-4D5C-BFF5-EB5A156F2F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1" y="2413"/>
                <a:ext cx="340" cy="325"/>
              </a:xfrm>
              <a:custGeom>
                <a:avLst/>
                <a:gdLst>
                  <a:gd name="T0" fmla="*/ 159 w 304"/>
                  <a:gd name="T1" fmla="*/ 72 h 290"/>
                  <a:gd name="T2" fmla="*/ 169 w 304"/>
                  <a:gd name="T3" fmla="*/ 64 h 290"/>
                  <a:gd name="T4" fmla="*/ 189 w 304"/>
                  <a:gd name="T5" fmla="*/ 65 h 290"/>
                  <a:gd name="T6" fmla="*/ 205 w 304"/>
                  <a:gd name="T7" fmla="*/ 83 h 290"/>
                  <a:gd name="T8" fmla="*/ 226 w 304"/>
                  <a:gd name="T9" fmla="*/ 103 h 290"/>
                  <a:gd name="T10" fmla="*/ 227 w 304"/>
                  <a:gd name="T11" fmla="*/ 121 h 290"/>
                  <a:gd name="T12" fmla="*/ 235 w 304"/>
                  <a:gd name="T13" fmla="*/ 128 h 290"/>
                  <a:gd name="T14" fmla="*/ 247 w 304"/>
                  <a:gd name="T15" fmla="*/ 161 h 290"/>
                  <a:gd name="T16" fmla="*/ 290 w 304"/>
                  <a:gd name="T17" fmla="*/ 164 h 290"/>
                  <a:gd name="T18" fmla="*/ 303 w 304"/>
                  <a:gd name="T19" fmla="*/ 182 h 290"/>
                  <a:gd name="T20" fmla="*/ 294 w 304"/>
                  <a:gd name="T21" fmla="*/ 222 h 290"/>
                  <a:gd name="T22" fmla="*/ 252 w 304"/>
                  <a:gd name="T23" fmla="*/ 230 h 290"/>
                  <a:gd name="T24" fmla="*/ 209 w 304"/>
                  <a:gd name="T25" fmla="*/ 237 h 290"/>
                  <a:gd name="T26" fmla="*/ 197 w 304"/>
                  <a:gd name="T27" fmla="*/ 253 h 290"/>
                  <a:gd name="T28" fmla="*/ 192 w 304"/>
                  <a:gd name="T29" fmla="*/ 274 h 290"/>
                  <a:gd name="T30" fmla="*/ 172 w 304"/>
                  <a:gd name="T31" fmla="*/ 289 h 290"/>
                  <a:gd name="T32" fmla="*/ 172 w 304"/>
                  <a:gd name="T33" fmla="*/ 276 h 290"/>
                  <a:gd name="T34" fmla="*/ 172 w 304"/>
                  <a:gd name="T35" fmla="*/ 266 h 290"/>
                  <a:gd name="T36" fmla="*/ 166 w 304"/>
                  <a:gd name="T37" fmla="*/ 264 h 290"/>
                  <a:gd name="T38" fmla="*/ 149 w 304"/>
                  <a:gd name="T39" fmla="*/ 263 h 290"/>
                  <a:gd name="T40" fmla="*/ 132 w 304"/>
                  <a:gd name="T41" fmla="*/ 264 h 290"/>
                  <a:gd name="T42" fmla="*/ 121 w 304"/>
                  <a:gd name="T43" fmla="*/ 270 h 290"/>
                  <a:gd name="T44" fmla="*/ 105 w 304"/>
                  <a:gd name="T45" fmla="*/ 252 h 290"/>
                  <a:gd name="T46" fmla="*/ 100 w 304"/>
                  <a:gd name="T47" fmla="*/ 234 h 290"/>
                  <a:gd name="T48" fmla="*/ 91 w 304"/>
                  <a:gd name="T49" fmla="*/ 219 h 290"/>
                  <a:gd name="T50" fmla="*/ 72 w 304"/>
                  <a:gd name="T51" fmla="*/ 197 h 290"/>
                  <a:gd name="T52" fmla="*/ 65 w 304"/>
                  <a:gd name="T53" fmla="*/ 181 h 290"/>
                  <a:gd name="T54" fmla="*/ 54 w 304"/>
                  <a:gd name="T55" fmla="*/ 149 h 290"/>
                  <a:gd name="T56" fmla="*/ 38 w 304"/>
                  <a:gd name="T57" fmla="*/ 123 h 290"/>
                  <a:gd name="T58" fmla="*/ 18 w 304"/>
                  <a:gd name="T59" fmla="*/ 104 h 290"/>
                  <a:gd name="T60" fmla="*/ 15 w 304"/>
                  <a:gd name="T61" fmla="*/ 81 h 290"/>
                  <a:gd name="T62" fmla="*/ 3 w 304"/>
                  <a:gd name="T63" fmla="*/ 74 h 290"/>
                  <a:gd name="T64" fmla="*/ 0 w 304"/>
                  <a:gd name="T65" fmla="*/ 58 h 290"/>
                  <a:gd name="T66" fmla="*/ 18 w 304"/>
                  <a:gd name="T67" fmla="*/ 58 h 290"/>
                  <a:gd name="T68" fmla="*/ 31 w 304"/>
                  <a:gd name="T69" fmla="*/ 46 h 290"/>
                  <a:gd name="T70" fmla="*/ 43 w 304"/>
                  <a:gd name="T71" fmla="*/ 36 h 290"/>
                  <a:gd name="T72" fmla="*/ 43 w 304"/>
                  <a:gd name="T73" fmla="*/ 15 h 290"/>
                  <a:gd name="T74" fmla="*/ 59 w 304"/>
                  <a:gd name="T75" fmla="*/ 2 h 290"/>
                  <a:gd name="T76" fmla="*/ 65 w 304"/>
                  <a:gd name="T77" fmla="*/ 0 h 290"/>
                  <a:gd name="T78" fmla="*/ 74 w 304"/>
                  <a:gd name="T79" fmla="*/ 8 h 290"/>
                  <a:gd name="T80" fmla="*/ 84 w 304"/>
                  <a:gd name="T81" fmla="*/ 15 h 290"/>
                  <a:gd name="T82" fmla="*/ 100 w 304"/>
                  <a:gd name="T83" fmla="*/ 14 h 290"/>
                  <a:gd name="T84" fmla="*/ 110 w 304"/>
                  <a:gd name="T85" fmla="*/ 31 h 290"/>
                  <a:gd name="T86" fmla="*/ 121 w 304"/>
                  <a:gd name="T87" fmla="*/ 34 h 290"/>
                  <a:gd name="T88" fmla="*/ 134 w 304"/>
                  <a:gd name="T89" fmla="*/ 57 h 290"/>
                  <a:gd name="T90" fmla="*/ 159 w 304"/>
                  <a:gd name="T91" fmla="*/ 72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" h="290">
                    <a:moveTo>
                      <a:pt x="159" y="72"/>
                    </a:moveTo>
                    <a:lnTo>
                      <a:pt x="169" y="64"/>
                    </a:lnTo>
                    <a:lnTo>
                      <a:pt x="189" y="65"/>
                    </a:lnTo>
                    <a:lnTo>
                      <a:pt x="205" y="83"/>
                    </a:lnTo>
                    <a:lnTo>
                      <a:pt x="226" y="103"/>
                    </a:lnTo>
                    <a:lnTo>
                      <a:pt x="227" y="121"/>
                    </a:lnTo>
                    <a:lnTo>
                      <a:pt x="235" y="128"/>
                    </a:lnTo>
                    <a:lnTo>
                      <a:pt x="247" y="161"/>
                    </a:lnTo>
                    <a:lnTo>
                      <a:pt x="290" y="164"/>
                    </a:lnTo>
                    <a:lnTo>
                      <a:pt x="303" y="182"/>
                    </a:lnTo>
                    <a:lnTo>
                      <a:pt x="294" y="222"/>
                    </a:lnTo>
                    <a:lnTo>
                      <a:pt x="252" y="230"/>
                    </a:lnTo>
                    <a:lnTo>
                      <a:pt x="209" y="237"/>
                    </a:lnTo>
                    <a:lnTo>
                      <a:pt x="197" y="253"/>
                    </a:lnTo>
                    <a:lnTo>
                      <a:pt x="192" y="274"/>
                    </a:lnTo>
                    <a:lnTo>
                      <a:pt x="172" y="289"/>
                    </a:lnTo>
                    <a:lnTo>
                      <a:pt x="172" y="276"/>
                    </a:lnTo>
                    <a:lnTo>
                      <a:pt x="172" y="266"/>
                    </a:lnTo>
                    <a:lnTo>
                      <a:pt x="166" y="264"/>
                    </a:lnTo>
                    <a:lnTo>
                      <a:pt x="149" y="263"/>
                    </a:lnTo>
                    <a:lnTo>
                      <a:pt x="132" y="264"/>
                    </a:lnTo>
                    <a:lnTo>
                      <a:pt x="121" y="270"/>
                    </a:lnTo>
                    <a:lnTo>
                      <a:pt x="105" y="252"/>
                    </a:lnTo>
                    <a:lnTo>
                      <a:pt x="100" y="234"/>
                    </a:lnTo>
                    <a:lnTo>
                      <a:pt x="91" y="219"/>
                    </a:lnTo>
                    <a:lnTo>
                      <a:pt x="72" y="197"/>
                    </a:lnTo>
                    <a:lnTo>
                      <a:pt x="65" y="181"/>
                    </a:lnTo>
                    <a:lnTo>
                      <a:pt x="54" y="149"/>
                    </a:lnTo>
                    <a:lnTo>
                      <a:pt x="38" y="123"/>
                    </a:lnTo>
                    <a:lnTo>
                      <a:pt x="18" y="104"/>
                    </a:lnTo>
                    <a:lnTo>
                      <a:pt x="15" y="81"/>
                    </a:lnTo>
                    <a:lnTo>
                      <a:pt x="3" y="74"/>
                    </a:lnTo>
                    <a:lnTo>
                      <a:pt x="0" y="58"/>
                    </a:lnTo>
                    <a:lnTo>
                      <a:pt x="18" y="58"/>
                    </a:lnTo>
                    <a:lnTo>
                      <a:pt x="31" y="46"/>
                    </a:lnTo>
                    <a:lnTo>
                      <a:pt x="43" y="36"/>
                    </a:lnTo>
                    <a:lnTo>
                      <a:pt x="43" y="15"/>
                    </a:lnTo>
                    <a:lnTo>
                      <a:pt x="59" y="2"/>
                    </a:lnTo>
                    <a:lnTo>
                      <a:pt x="65" y="0"/>
                    </a:lnTo>
                    <a:lnTo>
                      <a:pt x="74" y="8"/>
                    </a:lnTo>
                    <a:lnTo>
                      <a:pt x="84" y="15"/>
                    </a:lnTo>
                    <a:lnTo>
                      <a:pt x="100" y="14"/>
                    </a:lnTo>
                    <a:lnTo>
                      <a:pt x="110" y="31"/>
                    </a:lnTo>
                    <a:lnTo>
                      <a:pt x="121" y="34"/>
                    </a:lnTo>
                    <a:lnTo>
                      <a:pt x="134" y="57"/>
                    </a:lnTo>
                    <a:lnTo>
                      <a:pt x="159" y="72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6" name="Freeform 273">
                <a:extLst>
                  <a:ext uri="{FF2B5EF4-FFF2-40B4-BE49-F238E27FC236}">
                    <a16:creationId xmlns:a16="http://schemas.microsoft.com/office/drawing/2014/main" id="{2675B4E0-2F49-4F7F-A8D1-4957766F2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9" y="2134"/>
                <a:ext cx="207" cy="186"/>
              </a:xfrm>
              <a:custGeom>
                <a:avLst/>
                <a:gdLst>
                  <a:gd name="T0" fmla="*/ 148 w 184"/>
                  <a:gd name="T1" fmla="*/ 166 h 167"/>
                  <a:gd name="T2" fmla="*/ 137 w 184"/>
                  <a:gd name="T3" fmla="*/ 161 h 167"/>
                  <a:gd name="T4" fmla="*/ 118 w 184"/>
                  <a:gd name="T5" fmla="*/ 160 h 167"/>
                  <a:gd name="T6" fmla="*/ 120 w 184"/>
                  <a:gd name="T7" fmla="*/ 149 h 167"/>
                  <a:gd name="T8" fmla="*/ 112 w 184"/>
                  <a:gd name="T9" fmla="*/ 146 h 167"/>
                  <a:gd name="T10" fmla="*/ 104 w 184"/>
                  <a:gd name="T11" fmla="*/ 151 h 167"/>
                  <a:gd name="T12" fmla="*/ 70 w 184"/>
                  <a:gd name="T13" fmla="*/ 123 h 167"/>
                  <a:gd name="T14" fmla="*/ 74 w 184"/>
                  <a:gd name="T15" fmla="*/ 112 h 167"/>
                  <a:gd name="T16" fmla="*/ 66 w 184"/>
                  <a:gd name="T17" fmla="*/ 109 h 167"/>
                  <a:gd name="T18" fmla="*/ 58 w 184"/>
                  <a:gd name="T19" fmla="*/ 109 h 167"/>
                  <a:gd name="T20" fmla="*/ 47 w 184"/>
                  <a:gd name="T21" fmla="*/ 106 h 167"/>
                  <a:gd name="T22" fmla="*/ 51 w 184"/>
                  <a:gd name="T23" fmla="*/ 99 h 167"/>
                  <a:gd name="T24" fmla="*/ 44 w 184"/>
                  <a:gd name="T25" fmla="*/ 93 h 167"/>
                  <a:gd name="T26" fmla="*/ 40 w 184"/>
                  <a:gd name="T27" fmla="*/ 84 h 167"/>
                  <a:gd name="T28" fmla="*/ 30 w 184"/>
                  <a:gd name="T29" fmla="*/ 89 h 167"/>
                  <a:gd name="T30" fmla="*/ 20 w 184"/>
                  <a:gd name="T31" fmla="*/ 92 h 167"/>
                  <a:gd name="T32" fmla="*/ 18 w 184"/>
                  <a:gd name="T33" fmla="*/ 102 h 167"/>
                  <a:gd name="T34" fmla="*/ 0 w 184"/>
                  <a:gd name="T35" fmla="*/ 97 h 167"/>
                  <a:gd name="T36" fmla="*/ 11 w 184"/>
                  <a:gd name="T37" fmla="*/ 25 h 167"/>
                  <a:gd name="T38" fmla="*/ 42 w 184"/>
                  <a:gd name="T39" fmla="*/ 0 h 167"/>
                  <a:gd name="T40" fmla="*/ 45 w 184"/>
                  <a:gd name="T41" fmla="*/ 37 h 167"/>
                  <a:gd name="T42" fmla="*/ 60 w 184"/>
                  <a:gd name="T43" fmla="*/ 37 h 167"/>
                  <a:gd name="T44" fmla="*/ 67 w 184"/>
                  <a:gd name="T45" fmla="*/ 44 h 167"/>
                  <a:gd name="T46" fmla="*/ 84 w 184"/>
                  <a:gd name="T47" fmla="*/ 44 h 167"/>
                  <a:gd name="T48" fmla="*/ 86 w 184"/>
                  <a:gd name="T49" fmla="*/ 20 h 167"/>
                  <a:gd name="T50" fmla="*/ 95 w 184"/>
                  <a:gd name="T51" fmla="*/ 37 h 167"/>
                  <a:gd name="T52" fmla="*/ 100 w 184"/>
                  <a:gd name="T53" fmla="*/ 50 h 167"/>
                  <a:gd name="T54" fmla="*/ 118 w 184"/>
                  <a:gd name="T55" fmla="*/ 45 h 167"/>
                  <a:gd name="T56" fmla="*/ 135 w 184"/>
                  <a:gd name="T57" fmla="*/ 47 h 167"/>
                  <a:gd name="T58" fmla="*/ 150 w 184"/>
                  <a:gd name="T59" fmla="*/ 54 h 167"/>
                  <a:gd name="T60" fmla="*/ 151 w 184"/>
                  <a:gd name="T61" fmla="*/ 77 h 167"/>
                  <a:gd name="T62" fmla="*/ 156 w 184"/>
                  <a:gd name="T63" fmla="*/ 89 h 167"/>
                  <a:gd name="T64" fmla="*/ 173 w 184"/>
                  <a:gd name="T65" fmla="*/ 98 h 167"/>
                  <a:gd name="T66" fmla="*/ 183 w 184"/>
                  <a:gd name="T67" fmla="*/ 106 h 167"/>
                  <a:gd name="T68" fmla="*/ 175 w 184"/>
                  <a:gd name="T69" fmla="*/ 122 h 167"/>
                  <a:gd name="T70" fmla="*/ 164 w 184"/>
                  <a:gd name="T71" fmla="*/ 137 h 167"/>
                  <a:gd name="T72" fmla="*/ 148 w 184"/>
                  <a:gd name="T73" fmla="*/ 166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167">
                    <a:moveTo>
                      <a:pt x="148" y="166"/>
                    </a:moveTo>
                    <a:lnTo>
                      <a:pt x="137" y="161"/>
                    </a:lnTo>
                    <a:lnTo>
                      <a:pt x="118" y="160"/>
                    </a:lnTo>
                    <a:lnTo>
                      <a:pt x="120" y="149"/>
                    </a:lnTo>
                    <a:lnTo>
                      <a:pt x="112" y="146"/>
                    </a:lnTo>
                    <a:lnTo>
                      <a:pt x="104" y="151"/>
                    </a:lnTo>
                    <a:lnTo>
                      <a:pt x="70" y="123"/>
                    </a:lnTo>
                    <a:lnTo>
                      <a:pt x="74" y="112"/>
                    </a:lnTo>
                    <a:lnTo>
                      <a:pt x="66" y="109"/>
                    </a:lnTo>
                    <a:lnTo>
                      <a:pt x="58" y="109"/>
                    </a:lnTo>
                    <a:lnTo>
                      <a:pt x="47" y="106"/>
                    </a:lnTo>
                    <a:lnTo>
                      <a:pt x="51" y="99"/>
                    </a:lnTo>
                    <a:lnTo>
                      <a:pt x="44" y="93"/>
                    </a:lnTo>
                    <a:lnTo>
                      <a:pt x="40" y="84"/>
                    </a:lnTo>
                    <a:lnTo>
                      <a:pt x="30" y="89"/>
                    </a:lnTo>
                    <a:lnTo>
                      <a:pt x="20" y="92"/>
                    </a:lnTo>
                    <a:lnTo>
                      <a:pt x="18" y="102"/>
                    </a:lnTo>
                    <a:lnTo>
                      <a:pt x="0" y="97"/>
                    </a:lnTo>
                    <a:lnTo>
                      <a:pt x="11" y="25"/>
                    </a:lnTo>
                    <a:lnTo>
                      <a:pt x="42" y="0"/>
                    </a:lnTo>
                    <a:lnTo>
                      <a:pt x="45" y="37"/>
                    </a:lnTo>
                    <a:lnTo>
                      <a:pt x="60" y="37"/>
                    </a:lnTo>
                    <a:lnTo>
                      <a:pt x="67" y="44"/>
                    </a:lnTo>
                    <a:lnTo>
                      <a:pt x="84" y="44"/>
                    </a:lnTo>
                    <a:lnTo>
                      <a:pt x="86" y="20"/>
                    </a:lnTo>
                    <a:lnTo>
                      <a:pt x="95" y="37"/>
                    </a:lnTo>
                    <a:lnTo>
                      <a:pt x="100" y="50"/>
                    </a:lnTo>
                    <a:lnTo>
                      <a:pt x="118" y="45"/>
                    </a:lnTo>
                    <a:lnTo>
                      <a:pt x="135" y="47"/>
                    </a:lnTo>
                    <a:lnTo>
                      <a:pt x="150" y="54"/>
                    </a:lnTo>
                    <a:lnTo>
                      <a:pt x="151" y="77"/>
                    </a:lnTo>
                    <a:lnTo>
                      <a:pt x="156" y="89"/>
                    </a:lnTo>
                    <a:lnTo>
                      <a:pt x="173" y="98"/>
                    </a:lnTo>
                    <a:lnTo>
                      <a:pt x="183" y="106"/>
                    </a:lnTo>
                    <a:lnTo>
                      <a:pt x="175" y="122"/>
                    </a:lnTo>
                    <a:lnTo>
                      <a:pt x="164" y="137"/>
                    </a:lnTo>
                    <a:lnTo>
                      <a:pt x="148" y="166"/>
                    </a:lnTo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7" name="Freeform 274">
                <a:extLst>
                  <a:ext uri="{FF2B5EF4-FFF2-40B4-BE49-F238E27FC236}">
                    <a16:creationId xmlns:a16="http://schemas.microsoft.com/office/drawing/2014/main" id="{80ED6E9C-DEC8-4E64-8A52-0F122FFC9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7" y="2088"/>
                <a:ext cx="57" cy="74"/>
              </a:xfrm>
              <a:custGeom>
                <a:avLst/>
                <a:gdLst>
                  <a:gd name="T0" fmla="*/ 39 w 57"/>
                  <a:gd name="T1" fmla="*/ 74 h 74"/>
                  <a:gd name="T2" fmla="*/ 47 w 57"/>
                  <a:gd name="T3" fmla="*/ 68 h 74"/>
                  <a:gd name="T4" fmla="*/ 54 w 57"/>
                  <a:gd name="T5" fmla="*/ 53 h 74"/>
                  <a:gd name="T6" fmla="*/ 57 w 57"/>
                  <a:gd name="T7" fmla="*/ 42 h 74"/>
                  <a:gd name="T8" fmla="*/ 36 w 57"/>
                  <a:gd name="T9" fmla="*/ 12 h 74"/>
                  <a:gd name="T10" fmla="*/ 23 w 57"/>
                  <a:gd name="T11" fmla="*/ 0 h 74"/>
                  <a:gd name="T12" fmla="*/ 0 w 57"/>
                  <a:gd name="T13" fmla="*/ 5 h 74"/>
                  <a:gd name="T14" fmla="*/ 24 w 57"/>
                  <a:gd name="T15" fmla="*/ 27 h 74"/>
                  <a:gd name="T16" fmla="*/ 24 w 57"/>
                  <a:gd name="T17" fmla="*/ 42 h 74"/>
                  <a:gd name="T18" fmla="*/ 39 w 57"/>
                  <a:gd name="T1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74">
                    <a:moveTo>
                      <a:pt x="39" y="74"/>
                    </a:moveTo>
                    <a:lnTo>
                      <a:pt x="47" y="68"/>
                    </a:lnTo>
                    <a:lnTo>
                      <a:pt x="54" y="53"/>
                    </a:lnTo>
                    <a:lnTo>
                      <a:pt x="57" y="42"/>
                    </a:lnTo>
                    <a:lnTo>
                      <a:pt x="36" y="12"/>
                    </a:lnTo>
                    <a:lnTo>
                      <a:pt x="23" y="0"/>
                    </a:lnTo>
                    <a:lnTo>
                      <a:pt x="0" y="5"/>
                    </a:lnTo>
                    <a:lnTo>
                      <a:pt x="24" y="27"/>
                    </a:lnTo>
                    <a:lnTo>
                      <a:pt x="24" y="42"/>
                    </a:lnTo>
                    <a:lnTo>
                      <a:pt x="39" y="7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8" name="Freeform 275">
                <a:extLst>
                  <a:ext uri="{FF2B5EF4-FFF2-40B4-BE49-F238E27FC236}">
                    <a16:creationId xmlns:a16="http://schemas.microsoft.com/office/drawing/2014/main" id="{0BDDEB27-3E9B-448E-BEC8-1A7C6CC31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9" y="2838"/>
                <a:ext cx="27" cy="83"/>
              </a:xfrm>
              <a:custGeom>
                <a:avLst/>
                <a:gdLst>
                  <a:gd name="T0" fmla="*/ 15 w 27"/>
                  <a:gd name="T1" fmla="*/ 83 h 83"/>
                  <a:gd name="T2" fmla="*/ 27 w 27"/>
                  <a:gd name="T3" fmla="*/ 72 h 83"/>
                  <a:gd name="T4" fmla="*/ 20 w 27"/>
                  <a:gd name="T5" fmla="*/ 48 h 83"/>
                  <a:gd name="T6" fmla="*/ 20 w 27"/>
                  <a:gd name="T7" fmla="*/ 26 h 83"/>
                  <a:gd name="T8" fmla="*/ 18 w 27"/>
                  <a:gd name="T9" fmla="*/ 11 h 83"/>
                  <a:gd name="T10" fmla="*/ 12 w 27"/>
                  <a:gd name="T11" fmla="*/ 2 h 83"/>
                  <a:gd name="T12" fmla="*/ 2 w 27"/>
                  <a:gd name="T13" fmla="*/ 0 h 83"/>
                  <a:gd name="T14" fmla="*/ 0 w 27"/>
                  <a:gd name="T15" fmla="*/ 14 h 83"/>
                  <a:gd name="T16" fmla="*/ 6 w 27"/>
                  <a:gd name="T17" fmla="*/ 24 h 83"/>
                  <a:gd name="T18" fmla="*/ 9 w 27"/>
                  <a:gd name="T19" fmla="*/ 48 h 83"/>
                  <a:gd name="T20" fmla="*/ 15 w 27"/>
                  <a:gd name="T21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83">
                    <a:moveTo>
                      <a:pt x="15" y="83"/>
                    </a:moveTo>
                    <a:lnTo>
                      <a:pt x="27" y="72"/>
                    </a:lnTo>
                    <a:lnTo>
                      <a:pt x="20" y="48"/>
                    </a:lnTo>
                    <a:lnTo>
                      <a:pt x="20" y="26"/>
                    </a:lnTo>
                    <a:lnTo>
                      <a:pt x="18" y="11"/>
                    </a:lnTo>
                    <a:lnTo>
                      <a:pt x="12" y="2"/>
                    </a:lnTo>
                    <a:lnTo>
                      <a:pt x="2" y="0"/>
                    </a:lnTo>
                    <a:lnTo>
                      <a:pt x="0" y="14"/>
                    </a:lnTo>
                    <a:lnTo>
                      <a:pt x="6" y="24"/>
                    </a:lnTo>
                    <a:lnTo>
                      <a:pt x="9" y="48"/>
                    </a:lnTo>
                    <a:lnTo>
                      <a:pt x="15" y="8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9" name="Freeform 276">
                <a:extLst>
                  <a:ext uri="{FF2B5EF4-FFF2-40B4-BE49-F238E27FC236}">
                    <a16:creationId xmlns:a16="http://schemas.microsoft.com/office/drawing/2014/main" id="{3C277303-DD0C-4752-94EB-195F6F3716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2033"/>
                <a:ext cx="21" cy="15"/>
              </a:xfrm>
              <a:custGeom>
                <a:avLst/>
                <a:gdLst>
                  <a:gd name="T0" fmla="*/ 0 w 21"/>
                  <a:gd name="T1" fmla="*/ 15 h 15"/>
                  <a:gd name="T2" fmla="*/ 21 w 21"/>
                  <a:gd name="T3" fmla="*/ 15 h 15"/>
                  <a:gd name="T4" fmla="*/ 10 w 21"/>
                  <a:gd name="T5" fmla="*/ 10 h 15"/>
                  <a:gd name="T6" fmla="*/ 7 w 21"/>
                  <a:gd name="T7" fmla="*/ 0 h 15"/>
                  <a:gd name="T8" fmla="*/ 0 w 21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5">
                    <a:moveTo>
                      <a:pt x="0" y="15"/>
                    </a:moveTo>
                    <a:lnTo>
                      <a:pt x="21" y="15"/>
                    </a:lnTo>
                    <a:lnTo>
                      <a:pt x="10" y="10"/>
                    </a:lnTo>
                    <a:lnTo>
                      <a:pt x="7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0" name="Freeform 277">
                <a:extLst>
                  <a:ext uri="{FF2B5EF4-FFF2-40B4-BE49-F238E27FC236}">
                    <a16:creationId xmlns:a16="http://schemas.microsoft.com/office/drawing/2014/main" id="{10C94C88-BCFE-48BA-BBFB-8F0AD0C71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9" y="2358"/>
                <a:ext cx="46" cy="96"/>
              </a:xfrm>
              <a:custGeom>
                <a:avLst/>
                <a:gdLst>
                  <a:gd name="T0" fmla="*/ 0 w 46"/>
                  <a:gd name="T1" fmla="*/ 74 h 96"/>
                  <a:gd name="T2" fmla="*/ 15 w 46"/>
                  <a:gd name="T3" fmla="*/ 29 h 96"/>
                  <a:gd name="T4" fmla="*/ 27 w 46"/>
                  <a:gd name="T5" fmla="*/ 0 h 96"/>
                  <a:gd name="T6" fmla="*/ 46 w 46"/>
                  <a:gd name="T7" fmla="*/ 17 h 96"/>
                  <a:gd name="T8" fmla="*/ 40 w 46"/>
                  <a:gd name="T9" fmla="*/ 35 h 96"/>
                  <a:gd name="T10" fmla="*/ 27 w 46"/>
                  <a:gd name="T11" fmla="*/ 42 h 96"/>
                  <a:gd name="T12" fmla="*/ 27 w 46"/>
                  <a:gd name="T13" fmla="*/ 77 h 96"/>
                  <a:gd name="T14" fmla="*/ 22 w 46"/>
                  <a:gd name="T15" fmla="*/ 96 h 96"/>
                  <a:gd name="T16" fmla="*/ 7 w 46"/>
                  <a:gd name="T17" fmla="*/ 75 h 96"/>
                  <a:gd name="T18" fmla="*/ 0 w 46"/>
                  <a:gd name="T19" fmla="*/ 7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96">
                    <a:moveTo>
                      <a:pt x="0" y="74"/>
                    </a:moveTo>
                    <a:lnTo>
                      <a:pt x="15" y="29"/>
                    </a:lnTo>
                    <a:lnTo>
                      <a:pt x="27" y="0"/>
                    </a:lnTo>
                    <a:lnTo>
                      <a:pt x="46" y="17"/>
                    </a:lnTo>
                    <a:lnTo>
                      <a:pt x="40" y="35"/>
                    </a:lnTo>
                    <a:lnTo>
                      <a:pt x="27" y="42"/>
                    </a:lnTo>
                    <a:lnTo>
                      <a:pt x="27" y="77"/>
                    </a:lnTo>
                    <a:lnTo>
                      <a:pt x="22" y="96"/>
                    </a:lnTo>
                    <a:lnTo>
                      <a:pt x="7" y="75"/>
                    </a:lnTo>
                    <a:lnTo>
                      <a:pt x="0" y="7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1" name="Freeform 278">
                <a:extLst>
                  <a:ext uri="{FF2B5EF4-FFF2-40B4-BE49-F238E27FC236}">
                    <a16:creationId xmlns:a16="http://schemas.microsoft.com/office/drawing/2014/main" id="{7C6D27FD-9456-4BCC-928B-0D957C1477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8" y="3000"/>
                <a:ext cx="29" cy="17"/>
              </a:xfrm>
              <a:custGeom>
                <a:avLst/>
                <a:gdLst>
                  <a:gd name="T0" fmla="*/ 0 w 29"/>
                  <a:gd name="T1" fmla="*/ 14 h 17"/>
                  <a:gd name="T2" fmla="*/ 2 w 29"/>
                  <a:gd name="T3" fmla="*/ 0 h 17"/>
                  <a:gd name="T4" fmla="*/ 29 w 29"/>
                  <a:gd name="T5" fmla="*/ 3 h 17"/>
                  <a:gd name="T6" fmla="*/ 18 w 29"/>
                  <a:gd name="T7" fmla="*/ 17 h 17"/>
                  <a:gd name="T8" fmla="*/ 0 w 29"/>
                  <a:gd name="T9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0" y="14"/>
                    </a:moveTo>
                    <a:lnTo>
                      <a:pt x="2" y="0"/>
                    </a:lnTo>
                    <a:lnTo>
                      <a:pt x="29" y="3"/>
                    </a:lnTo>
                    <a:lnTo>
                      <a:pt x="18" y="17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2" name="Freeform 279">
                <a:extLst>
                  <a:ext uri="{FF2B5EF4-FFF2-40B4-BE49-F238E27FC236}">
                    <a16:creationId xmlns:a16="http://schemas.microsoft.com/office/drawing/2014/main" id="{CA1DDD5B-D49E-4AD9-94FC-FFCF78A216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5" y="3207"/>
                <a:ext cx="52" cy="131"/>
              </a:xfrm>
              <a:custGeom>
                <a:avLst/>
                <a:gdLst>
                  <a:gd name="T0" fmla="*/ 16 w 52"/>
                  <a:gd name="T1" fmla="*/ 119 h 131"/>
                  <a:gd name="T2" fmla="*/ 24 w 52"/>
                  <a:gd name="T3" fmla="*/ 90 h 131"/>
                  <a:gd name="T4" fmla="*/ 0 w 52"/>
                  <a:gd name="T5" fmla="*/ 81 h 131"/>
                  <a:gd name="T6" fmla="*/ 0 w 52"/>
                  <a:gd name="T7" fmla="*/ 50 h 131"/>
                  <a:gd name="T8" fmla="*/ 10 w 52"/>
                  <a:gd name="T9" fmla="*/ 41 h 131"/>
                  <a:gd name="T10" fmla="*/ 4 w 52"/>
                  <a:gd name="T11" fmla="*/ 17 h 131"/>
                  <a:gd name="T12" fmla="*/ 7 w 52"/>
                  <a:gd name="T13" fmla="*/ 0 h 131"/>
                  <a:gd name="T14" fmla="*/ 30 w 52"/>
                  <a:gd name="T15" fmla="*/ 14 h 131"/>
                  <a:gd name="T16" fmla="*/ 33 w 52"/>
                  <a:gd name="T17" fmla="*/ 30 h 131"/>
                  <a:gd name="T18" fmla="*/ 28 w 52"/>
                  <a:gd name="T19" fmla="*/ 56 h 131"/>
                  <a:gd name="T20" fmla="*/ 45 w 52"/>
                  <a:gd name="T21" fmla="*/ 81 h 131"/>
                  <a:gd name="T22" fmla="*/ 52 w 52"/>
                  <a:gd name="T23" fmla="*/ 104 h 131"/>
                  <a:gd name="T24" fmla="*/ 40 w 52"/>
                  <a:gd name="T25" fmla="*/ 110 h 131"/>
                  <a:gd name="T26" fmla="*/ 39 w 52"/>
                  <a:gd name="T27" fmla="*/ 126 h 131"/>
                  <a:gd name="T28" fmla="*/ 24 w 52"/>
                  <a:gd name="T29" fmla="*/ 131 h 131"/>
                  <a:gd name="T30" fmla="*/ 16 w 52"/>
                  <a:gd name="T31" fmla="*/ 119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2" h="131">
                    <a:moveTo>
                      <a:pt x="16" y="119"/>
                    </a:moveTo>
                    <a:lnTo>
                      <a:pt x="24" y="90"/>
                    </a:lnTo>
                    <a:lnTo>
                      <a:pt x="0" y="81"/>
                    </a:lnTo>
                    <a:lnTo>
                      <a:pt x="0" y="50"/>
                    </a:lnTo>
                    <a:lnTo>
                      <a:pt x="10" y="41"/>
                    </a:lnTo>
                    <a:lnTo>
                      <a:pt x="4" y="17"/>
                    </a:lnTo>
                    <a:lnTo>
                      <a:pt x="7" y="0"/>
                    </a:lnTo>
                    <a:lnTo>
                      <a:pt x="30" y="14"/>
                    </a:lnTo>
                    <a:lnTo>
                      <a:pt x="33" y="30"/>
                    </a:lnTo>
                    <a:lnTo>
                      <a:pt x="28" y="56"/>
                    </a:lnTo>
                    <a:lnTo>
                      <a:pt x="45" y="81"/>
                    </a:lnTo>
                    <a:lnTo>
                      <a:pt x="52" y="104"/>
                    </a:lnTo>
                    <a:lnTo>
                      <a:pt x="40" y="110"/>
                    </a:lnTo>
                    <a:lnTo>
                      <a:pt x="39" y="126"/>
                    </a:lnTo>
                    <a:lnTo>
                      <a:pt x="24" y="131"/>
                    </a:lnTo>
                    <a:lnTo>
                      <a:pt x="16" y="1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alpha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</p:grpSp>
        <p:grpSp>
          <p:nvGrpSpPr>
            <p:cNvPr id="247" name="Group 246">
              <a:extLst>
                <a:ext uri="{FF2B5EF4-FFF2-40B4-BE49-F238E27FC236}">
                  <a16:creationId xmlns:a16="http://schemas.microsoft.com/office/drawing/2014/main" id="{34C0376C-A3E9-4010-978A-3816E43639DD}"/>
                </a:ext>
              </a:extLst>
            </p:cNvPr>
            <p:cNvGrpSpPr/>
            <p:nvPr/>
          </p:nvGrpSpPr>
          <p:grpSpPr>
            <a:xfrm>
              <a:off x="4511093" y="2497309"/>
              <a:ext cx="266814" cy="322509"/>
              <a:chOff x="3816684" y="2251473"/>
              <a:chExt cx="266814" cy="322509"/>
            </a:xfrm>
          </p:grpSpPr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98D36FC8-87C2-4F65-9C8B-B407F7813334}"/>
                  </a:ext>
                </a:extLst>
              </p:cNvPr>
              <p:cNvSpPr/>
              <p:nvPr/>
            </p:nvSpPr>
            <p:spPr>
              <a:xfrm flipV="1">
                <a:off x="3816684" y="2251473"/>
                <a:ext cx="266814" cy="322509"/>
              </a:xfrm>
              <a:custGeom>
                <a:avLst/>
                <a:gdLst>
                  <a:gd name="connsiteX0" fmla="*/ 133407 w 266814"/>
                  <a:gd name="connsiteY0" fmla="*/ 322509 h 322509"/>
                  <a:gd name="connsiteX1" fmla="*/ 266814 w 266814"/>
                  <a:gd name="connsiteY1" fmla="*/ 189102 h 322509"/>
                  <a:gd name="connsiteX2" fmla="*/ 227740 w 266814"/>
                  <a:gd name="connsiteY2" fmla="*/ 94769 h 322509"/>
                  <a:gd name="connsiteX3" fmla="*/ 223528 w 266814"/>
                  <a:gd name="connsiteY3" fmla="*/ 91929 h 322509"/>
                  <a:gd name="connsiteX4" fmla="*/ 227973 w 266814"/>
                  <a:gd name="connsiteY4" fmla="*/ 91929 h 322509"/>
                  <a:gd name="connsiteX5" fmla="*/ 133408 w 266814"/>
                  <a:gd name="connsiteY5" fmla="*/ 0 h 322509"/>
                  <a:gd name="connsiteX6" fmla="*/ 38842 w 266814"/>
                  <a:gd name="connsiteY6" fmla="*/ 91929 h 322509"/>
                  <a:gd name="connsiteX7" fmla="*/ 43286 w 266814"/>
                  <a:gd name="connsiteY7" fmla="*/ 91929 h 322509"/>
                  <a:gd name="connsiteX8" fmla="*/ 39074 w 266814"/>
                  <a:gd name="connsiteY8" fmla="*/ 94769 h 322509"/>
                  <a:gd name="connsiteX9" fmla="*/ 0 w 266814"/>
                  <a:gd name="connsiteY9" fmla="*/ 189102 h 322509"/>
                  <a:gd name="connsiteX10" fmla="*/ 133407 w 266814"/>
                  <a:gd name="connsiteY10" fmla="*/ 322509 h 322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6814" h="322509">
                    <a:moveTo>
                      <a:pt x="133407" y="322509"/>
                    </a:moveTo>
                    <a:cubicBezTo>
                      <a:pt x="207086" y="322509"/>
                      <a:pt x="266814" y="262781"/>
                      <a:pt x="266814" y="189102"/>
                    </a:cubicBezTo>
                    <a:cubicBezTo>
                      <a:pt x="266814" y="152263"/>
                      <a:pt x="251882" y="118911"/>
                      <a:pt x="227740" y="94769"/>
                    </a:cubicBezTo>
                    <a:lnTo>
                      <a:pt x="223528" y="91929"/>
                    </a:lnTo>
                    <a:lnTo>
                      <a:pt x="227973" y="91929"/>
                    </a:lnTo>
                    <a:lnTo>
                      <a:pt x="133408" y="0"/>
                    </a:lnTo>
                    <a:lnTo>
                      <a:pt x="38842" y="91929"/>
                    </a:lnTo>
                    <a:lnTo>
                      <a:pt x="43286" y="91929"/>
                    </a:lnTo>
                    <a:lnTo>
                      <a:pt x="39074" y="94769"/>
                    </a:lnTo>
                    <a:cubicBezTo>
                      <a:pt x="14932" y="118911"/>
                      <a:pt x="0" y="152263"/>
                      <a:pt x="0" y="189102"/>
                    </a:cubicBezTo>
                    <a:cubicBezTo>
                      <a:pt x="0" y="262781"/>
                      <a:pt x="59728" y="322509"/>
                      <a:pt x="133407" y="322509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97AF1D1D-CAB2-49E6-9ADA-6EBC6E62B0CC}"/>
                  </a:ext>
                </a:extLst>
              </p:cNvPr>
              <p:cNvSpPr/>
              <p:nvPr/>
            </p:nvSpPr>
            <p:spPr>
              <a:xfrm>
                <a:off x="3867256" y="2302045"/>
                <a:ext cx="165670" cy="1656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8" name="Group 247">
              <a:extLst>
                <a:ext uri="{FF2B5EF4-FFF2-40B4-BE49-F238E27FC236}">
                  <a16:creationId xmlns:a16="http://schemas.microsoft.com/office/drawing/2014/main" id="{91F23190-FFC8-4B36-ABCD-ED1F49C870BF}"/>
                </a:ext>
              </a:extLst>
            </p:cNvPr>
            <p:cNvGrpSpPr/>
            <p:nvPr/>
          </p:nvGrpSpPr>
          <p:grpSpPr>
            <a:xfrm>
              <a:off x="3247443" y="2262359"/>
              <a:ext cx="266814" cy="322509"/>
              <a:chOff x="3816684" y="2251473"/>
              <a:chExt cx="266814" cy="322509"/>
            </a:xfrm>
          </p:grpSpPr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88D60247-3AEE-4AE4-9CDC-3400910E33A5}"/>
                  </a:ext>
                </a:extLst>
              </p:cNvPr>
              <p:cNvSpPr/>
              <p:nvPr/>
            </p:nvSpPr>
            <p:spPr>
              <a:xfrm flipV="1">
                <a:off x="3816684" y="2251473"/>
                <a:ext cx="266814" cy="322509"/>
              </a:xfrm>
              <a:custGeom>
                <a:avLst/>
                <a:gdLst>
                  <a:gd name="connsiteX0" fmla="*/ 133407 w 266814"/>
                  <a:gd name="connsiteY0" fmla="*/ 322509 h 322509"/>
                  <a:gd name="connsiteX1" fmla="*/ 266814 w 266814"/>
                  <a:gd name="connsiteY1" fmla="*/ 189102 h 322509"/>
                  <a:gd name="connsiteX2" fmla="*/ 227740 w 266814"/>
                  <a:gd name="connsiteY2" fmla="*/ 94769 h 322509"/>
                  <a:gd name="connsiteX3" fmla="*/ 223528 w 266814"/>
                  <a:gd name="connsiteY3" fmla="*/ 91929 h 322509"/>
                  <a:gd name="connsiteX4" fmla="*/ 227973 w 266814"/>
                  <a:gd name="connsiteY4" fmla="*/ 91929 h 322509"/>
                  <a:gd name="connsiteX5" fmla="*/ 133408 w 266814"/>
                  <a:gd name="connsiteY5" fmla="*/ 0 h 322509"/>
                  <a:gd name="connsiteX6" fmla="*/ 38842 w 266814"/>
                  <a:gd name="connsiteY6" fmla="*/ 91929 h 322509"/>
                  <a:gd name="connsiteX7" fmla="*/ 43286 w 266814"/>
                  <a:gd name="connsiteY7" fmla="*/ 91929 h 322509"/>
                  <a:gd name="connsiteX8" fmla="*/ 39074 w 266814"/>
                  <a:gd name="connsiteY8" fmla="*/ 94769 h 322509"/>
                  <a:gd name="connsiteX9" fmla="*/ 0 w 266814"/>
                  <a:gd name="connsiteY9" fmla="*/ 189102 h 322509"/>
                  <a:gd name="connsiteX10" fmla="*/ 133407 w 266814"/>
                  <a:gd name="connsiteY10" fmla="*/ 322509 h 322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6814" h="322509">
                    <a:moveTo>
                      <a:pt x="133407" y="322509"/>
                    </a:moveTo>
                    <a:cubicBezTo>
                      <a:pt x="207086" y="322509"/>
                      <a:pt x="266814" y="262781"/>
                      <a:pt x="266814" y="189102"/>
                    </a:cubicBezTo>
                    <a:cubicBezTo>
                      <a:pt x="266814" y="152263"/>
                      <a:pt x="251882" y="118911"/>
                      <a:pt x="227740" y="94769"/>
                    </a:cubicBezTo>
                    <a:lnTo>
                      <a:pt x="223528" y="91929"/>
                    </a:lnTo>
                    <a:lnTo>
                      <a:pt x="227973" y="91929"/>
                    </a:lnTo>
                    <a:lnTo>
                      <a:pt x="133408" y="0"/>
                    </a:lnTo>
                    <a:lnTo>
                      <a:pt x="38842" y="91929"/>
                    </a:lnTo>
                    <a:lnTo>
                      <a:pt x="43286" y="91929"/>
                    </a:lnTo>
                    <a:lnTo>
                      <a:pt x="39074" y="94769"/>
                    </a:lnTo>
                    <a:cubicBezTo>
                      <a:pt x="14932" y="118911"/>
                      <a:pt x="0" y="152263"/>
                      <a:pt x="0" y="189102"/>
                    </a:cubicBezTo>
                    <a:cubicBezTo>
                      <a:pt x="0" y="262781"/>
                      <a:pt x="59728" y="322509"/>
                      <a:pt x="133407" y="322509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AABA2BF3-0A56-428E-AA39-E6237831966F}"/>
                  </a:ext>
                </a:extLst>
              </p:cNvPr>
              <p:cNvSpPr/>
              <p:nvPr/>
            </p:nvSpPr>
            <p:spPr>
              <a:xfrm>
                <a:off x="3867256" y="2302045"/>
                <a:ext cx="165670" cy="1656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2A9A4E37-D087-46A5-A70A-EA2AC0D69BBA}"/>
                </a:ext>
              </a:extLst>
            </p:cNvPr>
            <p:cNvGrpSpPr/>
            <p:nvPr/>
          </p:nvGrpSpPr>
          <p:grpSpPr>
            <a:xfrm>
              <a:off x="1348793" y="2313159"/>
              <a:ext cx="266814" cy="322509"/>
              <a:chOff x="3816684" y="2251473"/>
              <a:chExt cx="266814" cy="322509"/>
            </a:xfrm>
          </p:grpSpPr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0EE84E01-FC92-4E53-B484-6CC838FF4178}"/>
                  </a:ext>
                </a:extLst>
              </p:cNvPr>
              <p:cNvSpPr/>
              <p:nvPr/>
            </p:nvSpPr>
            <p:spPr>
              <a:xfrm flipV="1">
                <a:off x="3816684" y="2251473"/>
                <a:ext cx="266814" cy="322509"/>
              </a:xfrm>
              <a:custGeom>
                <a:avLst/>
                <a:gdLst>
                  <a:gd name="connsiteX0" fmla="*/ 133407 w 266814"/>
                  <a:gd name="connsiteY0" fmla="*/ 322509 h 322509"/>
                  <a:gd name="connsiteX1" fmla="*/ 266814 w 266814"/>
                  <a:gd name="connsiteY1" fmla="*/ 189102 h 322509"/>
                  <a:gd name="connsiteX2" fmla="*/ 227740 w 266814"/>
                  <a:gd name="connsiteY2" fmla="*/ 94769 h 322509"/>
                  <a:gd name="connsiteX3" fmla="*/ 223528 w 266814"/>
                  <a:gd name="connsiteY3" fmla="*/ 91929 h 322509"/>
                  <a:gd name="connsiteX4" fmla="*/ 227973 w 266814"/>
                  <a:gd name="connsiteY4" fmla="*/ 91929 h 322509"/>
                  <a:gd name="connsiteX5" fmla="*/ 133408 w 266814"/>
                  <a:gd name="connsiteY5" fmla="*/ 0 h 322509"/>
                  <a:gd name="connsiteX6" fmla="*/ 38842 w 266814"/>
                  <a:gd name="connsiteY6" fmla="*/ 91929 h 322509"/>
                  <a:gd name="connsiteX7" fmla="*/ 43286 w 266814"/>
                  <a:gd name="connsiteY7" fmla="*/ 91929 h 322509"/>
                  <a:gd name="connsiteX8" fmla="*/ 39074 w 266814"/>
                  <a:gd name="connsiteY8" fmla="*/ 94769 h 322509"/>
                  <a:gd name="connsiteX9" fmla="*/ 0 w 266814"/>
                  <a:gd name="connsiteY9" fmla="*/ 189102 h 322509"/>
                  <a:gd name="connsiteX10" fmla="*/ 133407 w 266814"/>
                  <a:gd name="connsiteY10" fmla="*/ 322509 h 322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6814" h="322509">
                    <a:moveTo>
                      <a:pt x="133407" y="322509"/>
                    </a:moveTo>
                    <a:cubicBezTo>
                      <a:pt x="207086" y="322509"/>
                      <a:pt x="266814" y="262781"/>
                      <a:pt x="266814" y="189102"/>
                    </a:cubicBezTo>
                    <a:cubicBezTo>
                      <a:pt x="266814" y="152263"/>
                      <a:pt x="251882" y="118911"/>
                      <a:pt x="227740" y="94769"/>
                    </a:cubicBezTo>
                    <a:lnTo>
                      <a:pt x="223528" y="91929"/>
                    </a:lnTo>
                    <a:lnTo>
                      <a:pt x="227973" y="91929"/>
                    </a:lnTo>
                    <a:lnTo>
                      <a:pt x="133408" y="0"/>
                    </a:lnTo>
                    <a:lnTo>
                      <a:pt x="38842" y="91929"/>
                    </a:lnTo>
                    <a:lnTo>
                      <a:pt x="43286" y="91929"/>
                    </a:lnTo>
                    <a:lnTo>
                      <a:pt x="39074" y="94769"/>
                    </a:lnTo>
                    <a:cubicBezTo>
                      <a:pt x="14932" y="118911"/>
                      <a:pt x="0" y="152263"/>
                      <a:pt x="0" y="189102"/>
                    </a:cubicBezTo>
                    <a:cubicBezTo>
                      <a:pt x="0" y="262781"/>
                      <a:pt x="59728" y="322509"/>
                      <a:pt x="133407" y="322509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9F4F4EBA-1A63-4330-B8D9-BA211663694D}"/>
                  </a:ext>
                </a:extLst>
              </p:cNvPr>
              <p:cNvSpPr/>
              <p:nvPr/>
            </p:nvSpPr>
            <p:spPr>
              <a:xfrm>
                <a:off x="3867256" y="2302045"/>
                <a:ext cx="165670" cy="1656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7" name="Group 256">
              <a:extLst>
                <a:ext uri="{FF2B5EF4-FFF2-40B4-BE49-F238E27FC236}">
                  <a16:creationId xmlns:a16="http://schemas.microsoft.com/office/drawing/2014/main" id="{D0143EB5-E359-457A-9579-D83C1BA89C7E}"/>
                </a:ext>
              </a:extLst>
            </p:cNvPr>
            <p:cNvGrpSpPr/>
            <p:nvPr/>
          </p:nvGrpSpPr>
          <p:grpSpPr>
            <a:xfrm>
              <a:off x="3317293" y="2954509"/>
              <a:ext cx="266814" cy="322509"/>
              <a:chOff x="3816684" y="2251473"/>
              <a:chExt cx="266814" cy="322509"/>
            </a:xfrm>
          </p:grpSpPr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FD09C8D9-3EFF-4463-8716-5C500188662A}"/>
                  </a:ext>
                </a:extLst>
              </p:cNvPr>
              <p:cNvSpPr/>
              <p:nvPr/>
            </p:nvSpPr>
            <p:spPr>
              <a:xfrm flipV="1">
                <a:off x="3816684" y="2251473"/>
                <a:ext cx="266814" cy="322509"/>
              </a:xfrm>
              <a:custGeom>
                <a:avLst/>
                <a:gdLst>
                  <a:gd name="connsiteX0" fmla="*/ 133407 w 266814"/>
                  <a:gd name="connsiteY0" fmla="*/ 322509 h 322509"/>
                  <a:gd name="connsiteX1" fmla="*/ 266814 w 266814"/>
                  <a:gd name="connsiteY1" fmla="*/ 189102 h 322509"/>
                  <a:gd name="connsiteX2" fmla="*/ 227740 w 266814"/>
                  <a:gd name="connsiteY2" fmla="*/ 94769 h 322509"/>
                  <a:gd name="connsiteX3" fmla="*/ 223528 w 266814"/>
                  <a:gd name="connsiteY3" fmla="*/ 91929 h 322509"/>
                  <a:gd name="connsiteX4" fmla="*/ 227973 w 266814"/>
                  <a:gd name="connsiteY4" fmla="*/ 91929 h 322509"/>
                  <a:gd name="connsiteX5" fmla="*/ 133408 w 266814"/>
                  <a:gd name="connsiteY5" fmla="*/ 0 h 322509"/>
                  <a:gd name="connsiteX6" fmla="*/ 38842 w 266814"/>
                  <a:gd name="connsiteY6" fmla="*/ 91929 h 322509"/>
                  <a:gd name="connsiteX7" fmla="*/ 43286 w 266814"/>
                  <a:gd name="connsiteY7" fmla="*/ 91929 h 322509"/>
                  <a:gd name="connsiteX8" fmla="*/ 39074 w 266814"/>
                  <a:gd name="connsiteY8" fmla="*/ 94769 h 322509"/>
                  <a:gd name="connsiteX9" fmla="*/ 0 w 266814"/>
                  <a:gd name="connsiteY9" fmla="*/ 189102 h 322509"/>
                  <a:gd name="connsiteX10" fmla="*/ 133407 w 266814"/>
                  <a:gd name="connsiteY10" fmla="*/ 322509 h 322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6814" h="322509">
                    <a:moveTo>
                      <a:pt x="133407" y="322509"/>
                    </a:moveTo>
                    <a:cubicBezTo>
                      <a:pt x="207086" y="322509"/>
                      <a:pt x="266814" y="262781"/>
                      <a:pt x="266814" y="189102"/>
                    </a:cubicBezTo>
                    <a:cubicBezTo>
                      <a:pt x="266814" y="152263"/>
                      <a:pt x="251882" y="118911"/>
                      <a:pt x="227740" y="94769"/>
                    </a:cubicBezTo>
                    <a:lnTo>
                      <a:pt x="223528" y="91929"/>
                    </a:lnTo>
                    <a:lnTo>
                      <a:pt x="227973" y="91929"/>
                    </a:lnTo>
                    <a:lnTo>
                      <a:pt x="133408" y="0"/>
                    </a:lnTo>
                    <a:lnTo>
                      <a:pt x="38842" y="91929"/>
                    </a:lnTo>
                    <a:lnTo>
                      <a:pt x="43286" y="91929"/>
                    </a:lnTo>
                    <a:lnTo>
                      <a:pt x="39074" y="94769"/>
                    </a:lnTo>
                    <a:cubicBezTo>
                      <a:pt x="14932" y="118911"/>
                      <a:pt x="0" y="152263"/>
                      <a:pt x="0" y="189102"/>
                    </a:cubicBezTo>
                    <a:cubicBezTo>
                      <a:pt x="0" y="262781"/>
                      <a:pt x="59728" y="322509"/>
                      <a:pt x="133407" y="322509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A03D1079-4C56-4E2A-9E16-B8F4DAEE32AF}"/>
                  </a:ext>
                </a:extLst>
              </p:cNvPr>
              <p:cNvSpPr/>
              <p:nvPr/>
            </p:nvSpPr>
            <p:spPr>
              <a:xfrm>
                <a:off x="3867256" y="2302045"/>
                <a:ext cx="165670" cy="1656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60" name="Group 259">
              <a:extLst>
                <a:ext uri="{FF2B5EF4-FFF2-40B4-BE49-F238E27FC236}">
                  <a16:creationId xmlns:a16="http://schemas.microsoft.com/office/drawing/2014/main" id="{BB2D1006-5F7B-4DB4-A8F8-E6ADD8362BAB}"/>
                </a:ext>
              </a:extLst>
            </p:cNvPr>
            <p:cNvGrpSpPr/>
            <p:nvPr/>
          </p:nvGrpSpPr>
          <p:grpSpPr>
            <a:xfrm>
              <a:off x="5139743" y="3697459"/>
              <a:ext cx="266814" cy="322509"/>
              <a:chOff x="3816684" y="2251473"/>
              <a:chExt cx="266814" cy="322509"/>
            </a:xfrm>
          </p:grpSpPr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8636AA2B-BA23-4D37-974D-5BFF67CD87FE}"/>
                  </a:ext>
                </a:extLst>
              </p:cNvPr>
              <p:cNvSpPr/>
              <p:nvPr/>
            </p:nvSpPr>
            <p:spPr>
              <a:xfrm flipV="1">
                <a:off x="3816684" y="2251473"/>
                <a:ext cx="266814" cy="322509"/>
              </a:xfrm>
              <a:custGeom>
                <a:avLst/>
                <a:gdLst>
                  <a:gd name="connsiteX0" fmla="*/ 133407 w 266814"/>
                  <a:gd name="connsiteY0" fmla="*/ 322509 h 322509"/>
                  <a:gd name="connsiteX1" fmla="*/ 266814 w 266814"/>
                  <a:gd name="connsiteY1" fmla="*/ 189102 h 322509"/>
                  <a:gd name="connsiteX2" fmla="*/ 227740 w 266814"/>
                  <a:gd name="connsiteY2" fmla="*/ 94769 h 322509"/>
                  <a:gd name="connsiteX3" fmla="*/ 223528 w 266814"/>
                  <a:gd name="connsiteY3" fmla="*/ 91929 h 322509"/>
                  <a:gd name="connsiteX4" fmla="*/ 227973 w 266814"/>
                  <a:gd name="connsiteY4" fmla="*/ 91929 h 322509"/>
                  <a:gd name="connsiteX5" fmla="*/ 133408 w 266814"/>
                  <a:gd name="connsiteY5" fmla="*/ 0 h 322509"/>
                  <a:gd name="connsiteX6" fmla="*/ 38842 w 266814"/>
                  <a:gd name="connsiteY6" fmla="*/ 91929 h 322509"/>
                  <a:gd name="connsiteX7" fmla="*/ 43286 w 266814"/>
                  <a:gd name="connsiteY7" fmla="*/ 91929 h 322509"/>
                  <a:gd name="connsiteX8" fmla="*/ 39074 w 266814"/>
                  <a:gd name="connsiteY8" fmla="*/ 94769 h 322509"/>
                  <a:gd name="connsiteX9" fmla="*/ 0 w 266814"/>
                  <a:gd name="connsiteY9" fmla="*/ 189102 h 322509"/>
                  <a:gd name="connsiteX10" fmla="*/ 133407 w 266814"/>
                  <a:gd name="connsiteY10" fmla="*/ 322509 h 322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6814" h="322509">
                    <a:moveTo>
                      <a:pt x="133407" y="322509"/>
                    </a:moveTo>
                    <a:cubicBezTo>
                      <a:pt x="207086" y="322509"/>
                      <a:pt x="266814" y="262781"/>
                      <a:pt x="266814" y="189102"/>
                    </a:cubicBezTo>
                    <a:cubicBezTo>
                      <a:pt x="266814" y="152263"/>
                      <a:pt x="251882" y="118911"/>
                      <a:pt x="227740" y="94769"/>
                    </a:cubicBezTo>
                    <a:lnTo>
                      <a:pt x="223528" y="91929"/>
                    </a:lnTo>
                    <a:lnTo>
                      <a:pt x="227973" y="91929"/>
                    </a:lnTo>
                    <a:lnTo>
                      <a:pt x="133408" y="0"/>
                    </a:lnTo>
                    <a:lnTo>
                      <a:pt x="38842" y="91929"/>
                    </a:lnTo>
                    <a:lnTo>
                      <a:pt x="43286" y="91929"/>
                    </a:lnTo>
                    <a:lnTo>
                      <a:pt x="39074" y="94769"/>
                    </a:lnTo>
                    <a:cubicBezTo>
                      <a:pt x="14932" y="118911"/>
                      <a:pt x="0" y="152263"/>
                      <a:pt x="0" y="189102"/>
                    </a:cubicBezTo>
                    <a:cubicBezTo>
                      <a:pt x="0" y="262781"/>
                      <a:pt x="59728" y="322509"/>
                      <a:pt x="133407" y="322509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62" name="Oval 261">
                <a:extLst>
                  <a:ext uri="{FF2B5EF4-FFF2-40B4-BE49-F238E27FC236}">
                    <a16:creationId xmlns:a16="http://schemas.microsoft.com/office/drawing/2014/main" id="{565B1EE0-1B91-4BF6-84CF-E0CBDEBA4522}"/>
                  </a:ext>
                </a:extLst>
              </p:cNvPr>
              <p:cNvSpPr/>
              <p:nvPr/>
            </p:nvSpPr>
            <p:spPr>
              <a:xfrm>
                <a:off x="3867256" y="2302045"/>
                <a:ext cx="165670" cy="1656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63" name="Rectangle 262">
            <a:extLst>
              <a:ext uri="{FF2B5EF4-FFF2-40B4-BE49-F238E27FC236}">
                <a16:creationId xmlns:a16="http://schemas.microsoft.com/office/drawing/2014/main" id="{96284FB0-0D0A-455C-A994-3EACF73148E5}"/>
              </a:ext>
            </a:extLst>
          </p:cNvPr>
          <p:cNvSpPr/>
          <p:nvPr/>
        </p:nvSpPr>
        <p:spPr>
          <a:xfrm>
            <a:off x="586189" y="4864452"/>
            <a:ext cx="1630392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264" name="Chart 263">
            <a:extLst>
              <a:ext uri="{FF2B5EF4-FFF2-40B4-BE49-F238E27FC236}">
                <a16:creationId xmlns:a16="http://schemas.microsoft.com/office/drawing/2014/main" id="{838B4E99-A5CD-40E7-82D6-9BB4F98E7C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0529672"/>
              </p:ext>
            </p:extLst>
          </p:nvPr>
        </p:nvGraphicFramePr>
        <p:xfrm>
          <a:off x="6141725" y="1623411"/>
          <a:ext cx="2516088" cy="4749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67" name="Chart 266">
            <a:extLst>
              <a:ext uri="{FF2B5EF4-FFF2-40B4-BE49-F238E27FC236}">
                <a16:creationId xmlns:a16="http://schemas.microsoft.com/office/drawing/2014/main" id="{D4F08918-C3AE-4F03-9787-747258E482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85148709"/>
              </p:ext>
            </p:extLst>
          </p:nvPr>
        </p:nvGraphicFramePr>
        <p:xfrm>
          <a:off x="9060350" y="1577873"/>
          <a:ext cx="2622922" cy="4749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69" name="Rectangle 268">
            <a:extLst>
              <a:ext uri="{FF2B5EF4-FFF2-40B4-BE49-F238E27FC236}">
                <a16:creationId xmlns:a16="http://schemas.microsoft.com/office/drawing/2014/main" id="{8EA76142-5773-43CA-BCD8-6DD048F31DE9}"/>
              </a:ext>
            </a:extLst>
          </p:cNvPr>
          <p:cNvSpPr/>
          <p:nvPr/>
        </p:nvSpPr>
        <p:spPr>
          <a:xfrm>
            <a:off x="2397662" y="4864452"/>
            <a:ext cx="1630392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03129C14-7FCD-4C61-8204-CF9ECFEE77C6}"/>
              </a:ext>
            </a:extLst>
          </p:cNvPr>
          <p:cNvSpPr/>
          <p:nvPr/>
        </p:nvSpPr>
        <p:spPr>
          <a:xfrm>
            <a:off x="4209135" y="4864452"/>
            <a:ext cx="1630392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3" name="Slide Number Placeholder 272">
            <a:extLst>
              <a:ext uri="{FF2B5EF4-FFF2-40B4-BE49-F238E27FC236}">
                <a16:creationId xmlns:a16="http://schemas.microsoft.com/office/drawing/2014/main" id="{EDFFE244-4503-4C49-BF6D-8FB4AC9C8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>
                <a:solidFill>
                  <a:schemeClr val="bg1"/>
                </a:solidFill>
              </a:rPr>
              <a:t>8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7105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34C2145-3AF2-4F65-8E3D-BF54DC2A76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2920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icture 43" descr="A picture containing person, indoor, sitting, computer&#10;&#10;Description automatically generated">
            <a:extLst>
              <a:ext uri="{FF2B5EF4-FFF2-40B4-BE49-F238E27FC236}">
                <a16:creationId xmlns:a16="http://schemas.microsoft.com/office/drawing/2014/main" id="{F8DDAD24-7A88-4BAE-8639-0714C99FCBD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997540"/>
            <a:ext cx="12192000" cy="32815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87649D-B54E-44BC-86C0-A58CBED8A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77" y="365125"/>
            <a:ext cx="11214847" cy="804769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ummar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F352F-E62C-4616-8E93-B622A5C4DB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852C8-76F4-4F7A-BC43-230EC86241A2}" type="slidenum">
              <a:rPr lang="en-US" smtClean="0"/>
              <a:t>9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C9454E5-E431-4577-B801-7CB3BDA4CBB4}"/>
              </a:ext>
            </a:extLst>
          </p:cNvPr>
          <p:cNvSpPr/>
          <p:nvPr/>
        </p:nvSpPr>
        <p:spPr>
          <a:xfrm>
            <a:off x="0" y="2997540"/>
            <a:ext cx="12192000" cy="3281539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C8E5614-C83B-4A3A-92E1-DB7E39F094BE}"/>
              </a:ext>
            </a:extLst>
          </p:cNvPr>
          <p:cNvGrpSpPr/>
          <p:nvPr/>
        </p:nvGrpSpPr>
        <p:grpSpPr>
          <a:xfrm>
            <a:off x="4226859" y="4292532"/>
            <a:ext cx="3738282" cy="1642904"/>
            <a:chOff x="4226859" y="-266700"/>
            <a:chExt cx="3738282" cy="765810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DC9CF5C-798E-4EF6-B51F-6583AA3FA4DD}"/>
                </a:ext>
              </a:extLst>
            </p:cNvPr>
            <p:cNvCxnSpPr>
              <a:cxnSpLocks/>
            </p:cNvCxnSpPr>
            <p:nvPr/>
          </p:nvCxnSpPr>
          <p:spPr>
            <a:xfrm>
              <a:off x="4226859" y="-266700"/>
              <a:ext cx="0" cy="765810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A3734BC2-6689-431B-B559-3EAE38E19540}"/>
                </a:ext>
              </a:extLst>
            </p:cNvPr>
            <p:cNvCxnSpPr>
              <a:cxnSpLocks/>
            </p:cNvCxnSpPr>
            <p:nvPr/>
          </p:nvCxnSpPr>
          <p:spPr>
            <a:xfrm>
              <a:off x="7965141" y="-266700"/>
              <a:ext cx="0" cy="7658100"/>
            </a:xfrm>
            <a:prstGeom prst="line">
              <a:avLst/>
            </a:prstGeom>
            <a:ln>
              <a:solidFill>
                <a:schemeClr val="bg1">
                  <a:alpha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Oval 11">
            <a:extLst>
              <a:ext uri="{FF2B5EF4-FFF2-40B4-BE49-F238E27FC236}">
                <a16:creationId xmlns:a16="http://schemas.microsoft.com/office/drawing/2014/main" id="{A7A161FF-C24F-4AF9-ABF5-F22A11937E45}"/>
              </a:ext>
            </a:extLst>
          </p:cNvPr>
          <p:cNvSpPr/>
          <p:nvPr/>
        </p:nvSpPr>
        <p:spPr>
          <a:xfrm>
            <a:off x="1240696" y="1909660"/>
            <a:ext cx="2234045" cy="223404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47FC82A-F965-41BF-8CDE-E0242CBC8A89}"/>
              </a:ext>
            </a:extLst>
          </p:cNvPr>
          <p:cNvSpPr/>
          <p:nvPr/>
        </p:nvSpPr>
        <p:spPr>
          <a:xfrm>
            <a:off x="4978977" y="1909660"/>
            <a:ext cx="2234045" cy="223404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44F122E-7916-41D4-A5BE-D5232B603550}"/>
              </a:ext>
            </a:extLst>
          </p:cNvPr>
          <p:cNvSpPr/>
          <p:nvPr/>
        </p:nvSpPr>
        <p:spPr>
          <a:xfrm>
            <a:off x="8717260" y="1909660"/>
            <a:ext cx="2234045" cy="223404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61FFD2F9-F9FF-40A0-8162-1F170B1D28C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25857310"/>
              </p:ext>
            </p:extLst>
          </p:nvPr>
        </p:nvGraphicFramePr>
        <p:xfrm>
          <a:off x="833940" y="2022618"/>
          <a:ext cx="3009165" cy="2016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8" name="Content Placeholder 14">
            <a:extLst>
              <a:ext uri="{FF2B5EF4-FFF2-40B4-BE49-F238E27FC236}">
                <a16:creationId xmlns:a16="http://schemas.microsoft.com/office/drawing/2014/main" id="{38549995-F254-4E6F-BA92-8C675637B42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7731808"/>
              </p:ext>
            </p:extLst>
          </p:nvPr>
        </p:nvGraphicFramePr>
        <p:xfrm>
          <a:off x="4564110" y="2022618"/>
          <a:ext cx="3009165" cy="2016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9" name="Content Placeholder 14">
            <a:extLst>
              <a:ext uri="{FF2B5EF4-FFF2-40B4-BE49-F238E27FC236}">
                <a16:creationId xmlns:a16="http://schemas.microsoft.com/office/drawing/2014/main" id="{1263702C-4805-4E03-A12C-958AE63A87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322094"/>
              </p:ext>
            </p:extLst>
          </p:nvPr>
        </p:nvGraphicFramePr>
        <p:xfrm>
          <a:off x="8337826" y="2022618"/>
          <a:ext cx="3009165" cy="2016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5" name="Oval 34">
            <a:extLst>
              <a:ext uri="{FF2B5EF4-FFF2-40B4-BE49-F238E27FC236}">
                <a16:creationId xmlns:a16="http://schemas.microsoft.com/office/drawing/2014/main" id="{3F645EA7-6164-4195-8302-4C5B0609528E}"/>
              </a:ext>
            </a:extLst>
          </p:cNvPr>
          <p:cNvSpPr/>
          <p:nvPr/>
        </p:nvSpPr>
        <p:spPr>
          <a:xfrm>
            <a:off x="1661808" y="2375565"/>
            <a:ext cx="1332850" cy="133285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5C7D288A-5CA2-47ED-8E08-AA514FA33B4C}"/>
              </a:ext>
            </a:extLst>
          </p:cNvPr>
          <p:cNvSpPr/>
          <p:nvPr/>
        </p:nvSpPr>
        <p:spPr>
          <a:xfrm>
            <a:off x="5391964" y="2375565"/>
            <a:ext cx="1332850" cy="133285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AF032D4-42A6-4FEC-BCFC-ED39038DEDF3}"/>
              </a:ext>
            </a:extLst>
          </p:cNvPr>
          <p:cNvSpPr/>
          <p:nvPr/>
        </p:nvSpPr>
        <p:spPr>
          <a:xfrm>
            <a:off x="9175983" y="2375565"/>
            <a:ext cx="1332850" cy="133285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 171">
            <a:extLst>
              <a:ext uri="{FF2B5EF4-FFF2-40B4-BE49-F238E27FC236}">
                <a16:creationId xmlns:a16="http://schemas.microsoft.com/office/drawing/2014/main" id="{828B0B34-8DE8-4885-A360-0683212BD7FB}"/>
              </a:ext>
            </a:extLst>
          </p:cNvPr>
          <p:cNvSpPr>
            <a:spLocks noEditPoints="1"/>
          </p:cNvSpPr>
          <p:nvPr/>
        </p:nvSpPr>
        <p:spPr bwMode="auto">
          <a:xfrm>
            <a:off x="5850673" y="2903139"/>
            <a:ext cx="436039" cy="255477"/>
          </a:xfrm>
          <a:custGeom>
            <a:avLst/>
            <a:gdLst>
              <a:gd name="T0" fmla="*/ 96 w 96"/>
              <a:gd name="T1" fmla="*/ 27 h 56"/>
              <a:gd name="T2" fmla="*/ 51 w 96"/>
              <a:gd name="T3" fmla="*/ 0 h 56"/>
              <a:gd name="T4" fmla="*/ 48 w 96"/>
              <a:gd name="T5" fmla="*/ 0 h 56"/>
              <a:gd name="T6" fmla="*/ 45 w 96"/>
              <a:gd name="T7" fmla="*/ 0 h 56"/>
              <a:gd name="T8" fmla="*/ 0 w 96"/>
              <a:gd name="T9" fmla="*/ 27 h 56"/>
              <a:gd name="T10" fmla="*/ 0 w 96"/>
              <a:gd name="T11" fmla="*/ 29 h 56"/>
              <a:gd name="T12" fmla="*/ 45 w 96"/>
              <a:gd name="T13" fmla="*/ 56 h 56"/>
              <a:gd name="T14" fmla="*/ 48 w 96"/>
              <a:gd name="T15" fmla="*/ 56 h 56"/>
              <a:gd name="T16" fmla="*/ 51 w 96"/>
              <a:gd name="T17" fmla="*/ 56 h 56"/>
              <a:gd name="T18" fmla="*/ 96 w 96"/>
              <a:gd name="T19" fmla="*/ 29 h 56"/>
              <a:gd name="T20" fmla="*/ 96 w 96"/>
              <a:gd name="T21" fmla="*/ 27 h 56"/>
              <a:gd name="T22" fmla="*/ 48 w 96"/>
              <a:gd name="T23" fmla="*/ 26 h 56"/>
              <a:gd name="T24" fmla="*/ 57 w 96"/>
              <a:gd name="T25" fmla="*/ 35 h 56"/>
              <a:gd name="T26" fmla="*/ 50 w 96"/>
              <a:gd name="T27" fmla="*/ 43 h 56"/>
              <a:gd name="T28" fmla="*/ 50 w 96"/>
              <a:gd name="T29" fmla="*/ 46 h 56"/>
              <a:gd name="T30" fmla="*/ 48 w 96"/>
              <a:gd name="T31" fmla="*/ 48 h 56"/>
              <a:gd name="T32" fmla="*/ 46 w 96"/>
              <a:gd name="T33" fmla="*/ 46 h 56"/>
              <a:gd name="T34" fmla="*/ 46 w 96"/>
              <a:gd name="T35" fmla="*/ 43 h 56"/>
              <a:gd name="T36" fmla="*/ 39 w 96"/>
              <a:gd name="T37" fmla="*/ 35 h 56"/>
              <a:gd name="T38" fmla="*/ 41 w 96"/>
              <a:gd name="T39" fmla="*/ 33 h 56"/>
              <a:gd name="T40" fmla="*/ 43 w 96"/>
              <a:gd name="T41" fmla="*/ 35 h 56"/>
              <a:gd name="T42" fmla="*/ 48 w 96"/>
              <a:gd name="T43" fmla="*/ 40 h 56"/>
              <a:gd name="T44" fmla="*/ 53 w 96"/>
              <a:gd name="T45" fmla="*/ 35 h 56"/>
              <a:gd name="T46" fmla="*/ 48 w 96"/>
              <a:gd name="T47" fmla="*/ 30 h 56"/>
              <a:gd name="T48" fmla="*/ 39 w 96"/>
              <a:gd name="T49" fmla="*/ 21 h 56"/>
              <a:gd name="T50" fmla="*/ 46 w 96"/>
              <a:gd name="T51" fmla="*/ 13 h 56"/>
              <a:gd name="T52" fmla="*/ 46 w 96"/>
              <a:gd name="T53" fmla="*/ 10 h 56"/>
              <a:gd name="T54" fmla="*/ 48 w 96"/>
              <a:gd name="T55" fmla="*/ 8 h 56"/>
              <a:gd name="T56" fmla="*/ 50 w 96"/>
              <a:gd name="T57" fmla="*/ 10 h 56"/>
              <a:gd name="T58" fmla="*/ 50 w 96"/>
              <a:gd name="T59" fmla="*/ 13 h 56"/>
              <a:gd name="T60" fmla="*/ 57 w 96"/>
              <a:gd name="T61" fmla="*/ 21 h 56"/>
              <a:gd name="T62" fmla="*/ 55 w 96"/>
              <a:gd name="T63" fmla="*/ 23 h 56"/>
              <a:gd name="T64" fmla="*/ 53 w 96"/>
              <a:gd name="T65" fmla="*/ 21 h 56"/>
              <a:gd name="T66" fmla="*/ 48 w 96"/>
              <a:gd name="T67" fmla="*/ 16 h 56"/>
              <a:gd name="T68" fmla="*/ 43 w 96"/>
              <a:gd name="T69" fmla="*/ 21 h 56"/>
              <a:gd name="T70" fmla="*/ 48 w 96"/>
              <a:gd name="T71" fmla="*/ 26 h 56"/>
              <a:gd name="T72" fmla="*/ 5 w 96"/>
              <a:gd name="T73" fmla="*/ 28 h 56"/>
              <a:gd name="T74" fmla="*/ 26 w 96"/>
              <a:gd name="T75" fmla="*/ 10 h 56"/>
              <a:gd name="T76" fmla="*/ 20 w 96"/>
              <a:gd name="T77" fmla="*/ 28 h 56"/>
              <a:gd name="T78" fmla="*/ 26 w 96"/>
              <a:gd name="T79" fmla="*/ 46 h 56"/>
              <a:gd name="T80" fmla="*/ 5 w 96"/>
              <a:gd name="T81" fmla="*/ 28 h 56"/>
              <a:gd name="T82" fmla="*/ 70 w 96"/>
              <a:gd name="T83" fmla="*/ 46 h 56"/>
              <a:gd name="T84" fmla="*/ 76 w 96"/>
              <a:gd name="T85" fmla="*/ 28 h 56"/>
              <a:gd name="T86" fmla="*/ 70 w 96"/>
              <a:gd name="T87" fmla="*/ 10 h 56"/>
              <a:gd name="T88" fmla="*/ 91 w 96"/>
              <a:gd name="T89" fmla="*/ 28 h 56"/>
              <a:gd name="T90" fmla="*/ 70 w 96"/>
              <a:gd name="T91" fmla="*/ 4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96" h="56">
                <a:moveTo>
                  <a:pt x="96" y="27"/>
                </a:moveTo>
                <a:cubicBezTo>
                  <a:pt x="95" y="26"/>
                  <a:pt x="76" y="2"/>
                  <a:pt x="51" y="0"/>
                </a:cubicBezTo>
                <a:cubicBezTo>
                  <a:pt x="50" y="0"/>
                  <a:pt x="49" y="0"/>
                  <a:pt x="48" y="0"/>
                </a:cubicBezTo>
                <a:cubicBezTo>
                  <a:pt x="47" y="0"/>
                  <a:pt x="46" y="0"/>
                  <a:pt x="45" y="0"/>
                </a:cubicBezTo>
                <a:cubicBezTo>
                  <a:pt x="20" y="2"/>
                  <a:pt x="1" y="26"/>
                  <a:pt x="0" y="27"/>
                </a:cubicBezTo>
                <a:cubicBezTo>
                  <a:pt x="0" y="27"/>
                  <a:pt x="0" y="29"/>
                  <a:pt x="0" y="29"/>
                </a:cubicBezTo>
                <a:cubicBezTo>
                  <a:pt x="1" y="30"/>
                  <a:pt x="20" y="54"/>
                  <a:pt x="45" y="56"/>
                </a:cubicBezTo>
                <a:cubicBezTo>
                  <a:pt x="46" y="56"/>
                  <a:pt x="47" y="56"/>
                  <a:pt x="48" y="56"/>
                </a:cubicBezTo>
                <a:cubicBezTo>
                  <a:pt x="49" y="56"/>
                  <a:pt x="50" y="56"/>
                  <a:pt x="51" y="56"/>
                </a:cubicBezTo>
                <a:cubicBezTo>
                  <a:pt x="76" y="54"/>
                  <a:pt x="95" y="30"/>
                  <a:pt x="96" y="29"/>
                </a:cubicBezTo>
                <a:cubicBezTo>
                  <a:pt x="96" y="29"/>
                  <a:pt x="96" y="27"/>
                  <a:pt x="96" y="27"/>
                </a:cubicBezTo>
                <a:close/>
                <a:moveTo>
                  <a:pt x="48" y="26"/>
                </a:moveTo>
                <a:cubicBezTo>
                  <a:pt x="53" y="26"/>
                  <a:pt x="57" y="30"/>
                  <a:pt x="57" y="35"/>
                </a:cubicBezTo>
                <a:cubicBezTo>
                  <a:pt x="57" y="39"/>
                  <a:pt x="54" y="42"/>
                  <a:pt x="50" y="43"/>
                </a:cubicBezTo>
                <a:cubicBezTo>
                  <a:pt x="50" y="46"/>
                  <a:pt x="50" y="46"/>
                  <a:pt x="50" y="46"/>
                </a:cubicBezTo>
                <a:cubicBezTo>
                  <a:pt x="50" y="47"/>
                  <a:pt x="49" y="48"/>
                  <a:pt x="48" y="48"/>
                </a:cubicBezTo>
                <a:cubicBezTo>
                  <a:pt x="47" y="48"/>
                  <a:pt x="46" y="47"/>
                  <a:pt x="46" y="46"/>
                </a:cubicBezTo>
                <a:cubicBezTo>
                  <a:pt x="46" y="43"/>
                  <a:pt x="46" y="43"/>
                  <a:pt x="46" y="43"/>
                </a:cubicBezTo>
                <a:cubicBezTo>
                  <a:pt x="42" y="42"/>
                  <a:pt x="39" y="39"/>
                  <a:pt x="39" y="35"/>
                </a:cubicBezTo>
                <a:cubicBezTo>
                  <a:pt x="39" y="34"/>
                  <a:pt x="40" y="33"/>
                  <a:pt x="41" y="33"/>
                </a:cubicBezTo>
                <a:cubicBezTo>
                  <a:pt x="42" y="33"/>
                  <a:pt x="43" y="34"/>
                  <a:pt x="43" y="35"/>
                </a:cubicBezTo>
                <a:cubicBezTo>
                  <a:pt x="43" y="37"/>
                  <a:pt x="45" y="40"/>
                  <a:pt x="48" y="40"/>
                </a:cubicBezTo>
                <a:cubicBezTo>
                  <a:pt x="51" y="40"/>
                  <a:pt x="53" y="37"/>
                  <a:pt x="53" y="35"/>
                </a:cubicBezTo>
                <a:cubicBezTo>
                  <a:pt x="53" y="32"/>
                  <a:pt x="51" y="30"/>
                  <a:pt x="48" y="30"/>
                </a:cubicBezTo>
                <a:cubicBezTo>
                  <a:pt x="43" y="30"/>
                  <a:pt x="39" y="26"/>
                  <a:pt x="39" y="21"/>
                </a:cubicBezTo>
                <a:cubicBezTo>
                  <a:pt x="39" y="17"/>
                  <a:pt x="42" y="14"/>
                  <a:pt x="46" y="13"/>
                </a:cubicBezTo>
                <a:cubicBezTo>
                  <a:pt x="46" y="10"/>
                  <a:pt x="46" y="10"/>
                  <a:pt x="46" y="10"/>
                </a:cubicBezTo>
                <a:cubicBezTo>
                  <a:pt x="46" y="9"/>
                  <a:pt x="47" y="8"/>
                  <a:pt x="48" y="8"/>
                </a:cubicBezTo>
                <a:cubicBezTo>
                  <a:pt x="49" y="8"/>
                  <a:pt x="50" y="9"/>
                  <a:pt x="50" y="10"/>
                </a:cubicBezTo>
                <a:cubicBezTo>
                  <a:pt x="50" y="13"/>
                  <a:pt x="50" y="13"/>
                  <a:pt x="50" y="13"/>
                </a:cubicBezTo>
                <a:cubicBezTo>
                  <a:pt x="54" y="14"/>
                  <a:pt x="57" y="17"/>
                  <a:pt x="57" y="21"/>
                </a:cubicBezTo>
                <a:cubicBezTo>
                  <a:pt x="57" y="22"/>
                  <a:pt x="56" y="23"/>
                  <a:pt x="55" y="23"/>
                </a:cubicBezTo>
                <a:cubicBezTo>
                  <a:pt x="54" y="23"/>
                  <a:pt x="53" y="22"/>
                  <a:pt x="53" y="21"/>
                </a:cubicBezTo>
                <a:cubicBezTo>
                  <a:pt x="53" y="19"/>
                  <a:pt x="51" y="16"/>
                  <a:pt x="48" y="16"/>
                </a:cubicBezTo>
                <a:cubicBezTo>
                  <a:pt x="45" y="16"/>
                  <a:pt x="43" y="19"/>
                  <a:pt x="43" y="21"/>
                </a:cubicBezTo>
                <a:cubicBezTo>
                  <a:pt x="43" y="24"/>
                  <a:pt x="45" y="26"/>
                  <a:pt x="48" y="26"/>
                </a:cubicBezTo>
                <a:close/>
                <a:moveTo>
                  <a:pt x="5" y="28"/>
                </a:moveTo>
                <a:cubicBezTo>
                  <a:pt x="7" y="25"/>
                  <a:pt x="16" y="16"/>
                  <a:pt x="26" y="10"/>
                </a:cubicBezTo>
                <a:cubicBezTo>
                  <a:pt x="22" y="15"/>
                  <a:pt x="20" y="21"/>
                  <a:pt x="20" y="28"/>
                </a:cubicBezTo>
                <a:cubicBezTo>
                  <a:pt x="20" y="35"/>
                  <a:pt x="22" y="41"/>
                  <a:pt x="26" y="46"/>
                </a:cubicBezTo>
                <a:cubicBezTo>
                  <a:pt x="16" y="40"/>
                  <a:pt x="7" y="31"/>
                  <a:pt x="5" y="28"/>
                </a:cubicBezTo>
                <a:close/>
                <a:moveTo>
                  <a:pt x="70" y="46"/>
                </a:moveTo>
                <a:cubicBezTo>
                  <a:pt x="74" y="41"/>
                  <a:pt x="76" y="35"/>
                  <a:pt x="76" y="28"/>
                </a:cubicBezTo>
                <a:cubicBezTo>
                  <a:pt x="76" y="21"/>
                  <a:pt x="74" y="15"/>
                  <a:pt x="70" y="10"/>
                </a:cubicBezTo>
                <a:cubicBezTo>
                  <a:pt x="80" y="16"/>
                  <a:pt x="89" y="25"/>
                  <a:pt x="91" y="28"/>
                </a:cubicBezTo>
                <a:cubicBezTo>
                  <a:pt x="89" y="31"/>
                  <a:pt x="80" y="40"/>
                  <a:pt x="70" y="4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588A34B-B44C-4E75-AFCC-64B0F6321BAC}"/>
              </a:ext>
            </a:extLst>
          </p:cNvPr>
          <p:cNvGrpSpPr/>
          <p:nvPr/>
        </p:nvGrpSpPr>
        <p:grpSpPr>
          <a:xfrm>
            <a:off x="2098701" y="2791056"/>
            <a:ext cx="479643" cy="479643"/>
            <a:chOff x="5561013" y="1066800"/>
            <a:chExt cx="360363" cy="360363"/>
          </a:xfrm>
          <a:solidFill>
            <a:schemeClr val="bg1">
              <a:lumMod val="85000"/>
            </a:schemeClr>
          </a:solidFill>
        </p:grpSpPr>
        <p:sp>
          <p:nvSpPr>
            <p:cNvPr id="22" name="Freeform 285">
              <a:extLst>
                <a:ext uri="{FF2B5EF4-FFF2-40B4-BE49-F238E27FC236}">
                  <a16:creationId xmlns:a16="http://schemas.microsoft.com/office/drawing/2014/main" id="{690B7828-361E-4F1C-B63B-B9D24BDB78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1013" y="1066800"/>
              <a:ext cx="360363" cy="360363"/>
            </a:xfrm>
            <a:custGeom>
              <a:avLst/>
              <a:gdLst>
                <a:gd name="T0" fmla="*/ 92 w 96"/>
                <a:gd name="T1" fmla="*/ 44 h 96"/>
                <a:gd name="T2" fmla="*/ 84 w 96"/>
                <a:gd name="T3" fmla="*/ 44 h 96"/>
                <a:gd name="T4" fmla="*/ 52 w 96"/>
                <a:gd name="T5" fmla="*/ 12 h 96"/>
                <a:gd name="T6" fmla="*/ 52 w 96"/>
                <a:gd name="T7" fmla="*/ 4 h 96"/>
                <a:gd name="T8" fmla="*/ 48 w 96"/>
                <a:gd name="T9" fmla="*/ 0 h 96"/>
                <a:gd name="T10" fmla="*/ 44 w 96"/>
                <a:gd name="T11" fmla="*/ 4 h 96"/>
                <a:gd name="T12" fmla="*/ 44 w 96"/>
                <a:gd name="T13" fmla="*/ 12 h 96"/>
                <a:gd name="T14" fmla="*/ 12 w 96"/>
                <a:gd name="T15" fmla="*/ 44 h 96"/>
                <a:gd name="T16" fmla="*/ 4 w 96"/>
                <a:gd name="T17" fmla="*/ 44 h 96"/>
                <a:gd name="T18" fmla="*/ 0 w 96"/>
                <a:gd name="T19" fmla="*/ 48 h 96"/>
                <a:gd name="T20" fmla="*/ 4 w 96"/>
                <a:gd name="T21" fmla="*/ 52 h 96"/>
                <a:gd name="T22" fmla="*/ 12 w 96"/>
                <a:gd name="T23" fmla="*/ 52 h 96"/>
                <a:gd name="T24" fmla="*/ 44 w 96"/>
                <a:gd name="T25" fmla="*/ 84 h 96"/>
                <a:gd name="T26" fmla="*/ 44 w 96"/>
                <a:gd name="T27" fmla="*/ 92 h 96"/>
                <a:gd name="T28" fmla="*/ 48 w 96"/>
                <a:gd name="T29" fmla="*/ 96 h 96"/>
                <a:gd name="T30" fmla="*/ 52 w 96"/>
                <a:gd name="T31" fmla="*/ 92 h 96"/>
                <a:gd name="T32" fmla="*/ 52 w 96"/>
                <a:gd name="T33" fmla="*/ 84 h 96"/>
                <a:gd name="T34" fmla="*/ 84 w 96"/>
                <a:gd name="T35" fmla="*/ 52 h 96"/>
                <a:gd name="T36" fmla="*/ 92 w 96"/>
                <a:gd name="T37" fmla="*/ 52 h 96"/>
                <a:gd name="T38" fmla="*/ 96 w 96"/>
                <a:gd name="T39" fmla="*/ 48 h 96"/>
                <a:gd name="T40" fmla="*/ 92 w 96"/>
                <a:gd name="T41" fmla="*/ 44 h 96"/>
                <a:gd name="T42" fmla="*/ 52 w 96"/>
                <a:gd name="T43" fmla="*/ 76 h 96"/>
                <a:gd name="T44" fmla="*/ 52 w 96"/>
                <a:gd name="T45" fmla="*/ 73 h 96"/>
                <a:gd name="T46" fmla="*/ 48 w 96"/>
                <a:gd name="T47" fmla="*/ 69 h 96"/>
                <a:gd name="T48" fmla="*/ 44 w 96"/>
                <a:gd name="T49" fmla="*/ 73 h 96"/>
                <a:gd name="T50" fmla="*/ 44 w 96"/>
                <a:gd name="T51" fmla="*/ 76 h 96"/>
                <a:gd name="T52" fmla="*/ 20 w 96"/>
                <a:gd name="T53" fmla="*/ 52 h 96"/>
                <a:gd name="T54" fmla="*/ 23 w 96"/>
                <a:gd name="T55" fmla="*/ 52 h 96"/>
                <a:gd name="T56" fmla="*/ 27 w 96"/>
                <a:gd name="T57" fmla="*/ 48 h 96"/>
                <a:gd name="T58" fmla="*/ 23 w 96"/>
                <a:gd name="T59" fmla="*/ 44 h 96"/>
                <a:gd name="T60" fmla="*/ 20 w 96"/>
                <a:gd name="T61" fmla="*/ 44 h 96"/>
                <a:gd name="T62" fmla="*/ 44 w 96"/>
                <a:gd name="T63" fmla="*/ 20 h 96"/>
                <a:gd name="T64" fmla="*/ 44 w 96"/>
                <a:gd name="T65" fmla="*/ 23 h 96"/>
                <a:gd name="T66" fmla="*/ 48 w 96"/>
                <a:gd name="T67" fmla="*/ 27 h 96"/>
                <a:gd name="T68" fmla="*/ 52 w 96"/>
                <a:gd name="T69" fmla="*/ 23 h 96"/>
                <a:gd name="T70" fmla="*/ 52 w 96"/>
                <a:gd name="T71" fmla="*/ 20 h 96"/>
                <a:gd name="T72" fmla="*/ 76 w 96"/>
                <a:gd name="T73" fmla="*/ 44 h 96"/>
                <a:gd name="T74" fmla="*/ 73 w 96"/>
                <a:gd name="T75" fmla="*/ 44 h 96"/>
                <a:gd name="T76" fmla="*/ 69 w 96"/>
                <a:gd name="T77" fmla="*/ 48 h 96"/>
                <a:gd name="T78" fmla="*/ 73 w 96"/>
                <a:gd name="T79" fmla="*/ 52 h 96"/>
                <a:gd name="T80" fmla="*/ 76 w 96"/>
                <a:gd name="T81" fmla="*/ 52 h 96"/>
                <a:gd name="T82" fmla="*/ 52 w 96"/>
                <a:gd name="T83" fmla="*/ 7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6" h="96">
                  <a:moveTo>
                    <a:pt x="92" y="44"/>
                  </a:moveTo>
                  <a:cubicBezTo>
                    <a:pt x="84" y="44"/>
                    <a:pt x="84" y="44"/>
                    <a:pt x="84" y="44"/>
                  </a:cubicBezTo>
                  <a:cubicBezTo>
                    <a:pt x="82" y="27"/>
                    <a:pt x="69" y="14"/>
                    <a:pt x="52" y="12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2"/>
                    <a:pt x="50" y="0"/>
                    <a:pt x="48" y="0"/>
                  </a:cubicBezTo>
                  <a:cubicBezTo>
                    <a:pt x="46" y="0"/>
                    <a:pt x="44" y="2"/>
                    <a:pt x="44" y="4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27" y="14"/>
                    <a:pt x="14" y="27"/>
                    <a:pt x="12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4"/>
                    <a:pt x="0" y="46"/>
                    <a:pt x="0" y="48"/>
                  </a:cubicBezTo>
                  <a:cubicBezTo>
                    <a:pt x="0" y="50"/>
                    <a:pt x="2" y="52"/>
                    <a:pt x="4" y="52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4" y="69"/>
                    <a:pt x="27" y="82"/>
                    <a:pt x="44" y="84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4"/>
                    <a:pt x="46" y="96"/>
                    <a:pt x="48" y="96"/>
                  </a:cubicBezTo>
                  <a:cubicBezTo>
                    <a:pt x="50" y="96"/>
                    <a:pt x="52" y="94"/>
                    <a:pt x="52" y="92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69" y="82"/>
                    <a:pt x="82" y="69"/>
                    <a:pt x="84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4" y="52"/>
                    <a:pt x="96" y="50"/>
                    <a:pt x="96" y="48"/>
                  </a:cubicBezTo>
                  <a:cubicBezTo>
                    <a:pt x="96" y="46"/>
                    <a:pt x="94" y="44"/>
                    <a:pt x="92" y="44"/>
                  </a:cubicBezTo>
                  <a:close/>
                  <a:moveTo>
                    <a:pt x="52" y="76"/>
                  </a:moveTo>
                  <a:cubicBezTo>
                    <a:pt x="52" y="73"/>
                    <a:pt x="52" y="73"/>
                    <a:pt x="52" y="73"/>
                  </a:cubicBezTo>
                  <a:cubicBezTo>
                    <a:pt x="52" y="71"/>
                    <a:pt x="50" y="69"/>
                    <a:pt x="48" y="69"/>
                  </a:cubicBezTo>
                  <a:cubicBezTo>
                    <a:pt x="46" y="69"/>
                    <a:pt x="44" y="71"/>
                    <a:pt x="44" y="73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31" y="74"/>
                    <a:pt x="22" y="65"/>
                    <a:pt x="20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5" y="52"/>
                    <a:pt x="27" y="50"/>
                    <a:pt x="27" y="48"/>
                  </a:cubicBezTo>
                  <a:cubicBezTo>
                    <a:pt x="27" y="46"/>
                    <a:pt x="25" y="44"/>
                    <a:pt x="23" y="44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31"/>
                    <a:pt x="31" y="22"/>
                    <a:pt x="44" y="20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5"/>
                    <a:pt x="46" y="27"/>
                    <a:pt x="48" y="27"/>
                  </a:cubicBezTo>
                  <a:cubicBezTo>
                    <a:pt x="50" y="27"/>
                    <a:pt x="52" y="25"/>
                    <a:pt x="52" y="23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65" y="22"/>
                    <a:pt x="74" y="31"/>
                    <a:pt x="76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1" y="44"/>
                    <a:pt x="69" y="46"/>
                    <a:pt x="69" y="48"/>
                  </a:cubicBezTo>
                  <a:cubicBezTo>
                    <a:pt x="69" y="50"/>
                    <a:pt x="71" y="52"/>
                    <a:pt x="73" y="52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65"/>
                    <a:pt x="65" y="74"/>
                    <a:pt x="52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286">
              <a:extLst>
                <a:ext uri="{FF2B5EF4-FFF2-40B4-BE49-F238E27FC236}">
                  <a16:creationId xmlns:a16="http://schemas.microsoft.com/office/drawing/2014/main" id="{434196AE-602F-4111-BA55-49A3770DD3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1826" y="1179513"/>
              <a:ext cx="58738" cy="134938"/>
            </a:xfrm>
            <a:custGeom>
              <a:avLst/>
              <a:gdLst>
                <a:gd name="T0" fmla="*/ 12 w 16"/>
                <a:gd name="T1" fmla="*/ 12 h 36"/>
                <a:gd name="T2" fmla="*/ 14 w 16"/>
                <a:gd name="T3" fmla="*/ 14 h 36"/>
                <a:gd name="T4" fmla="*/ 16 w 16"/>
                <a:gd name="T5" fmla="*/ 12 h 36"/>
                <a:gd name="T6" fmla="*/ 10 w 16"/>
                <a:gd name="T7" fmla="*/ 4 h 36"/>
                <a:gd name="T8" fmla="*/ 10 w 16"/>
                <a:gd name="T9" fmla="*/ 2 h 36"/>
                <a:gd name="T10" fmla="*/ 8 w 16"/>
                <a:gd name="T11" fmla="*/ 0 h 36"/>
                <a:gd name="T12" fmla="*/ 6 w 16"/>
                <a:gd name="T13" fmla="*/ 2 h 36"/>
                <a:gd name="T14" fmla="*/ 6 w 16"/>
                <a:gd name="T15" fmla="*/ 4 h 36"/>
                <a:gd name="T16" fmla="*/ 0 w 16"/>
                <a:gd name="T17" fmla="*/ 12 h 36"/>
                <a:gd name="T18" fmla="*/ 6 w 16"/>
                <a:gd name="T19" fmla="*/ 20 h 36"/>
                <a:gd name="T20" fmla="*/ 6 w 16"/>
                <a:gd name="T21" fmla="*/ 27 h 36"/>
                <a:gd name="T22" fmla="*/ 4 w 16"/>
                <a:gd name="T23" fmla="*/ 24 h 36"/>
                <a:gd name="T24" fmla="*/ 2 w 16"/>
                <a:gd name="T25" fmla="*/ 22 h 36"/>
                <a:gd name="T26" fmla="*/ 0 w 16"/>
                <a:gd name="T27" fmla="*/ 24 h 36"/>
                <a:gd name="T28" fmla="*/ 6 w 16"/>
                <a:gd name="T29" fmla="*/ 32 h 36"/>
                <a:gd name="T30" fmla="*/ 6 w 16"/>
                <a:gd name="T31" fmla="*/ 34 h 36"/>
                <a:gd name="T32" fmla="*/ 8 w 16"/>
                <a:gd name="T33" fmla="*/ 36 h 36"/>
                <a:gd name="T34" fmla="*/ 10 w 16"/>
                <a:gd name="T35" fmla="*/ 34 h 36"/>
                <a:gd name="T36" fmla="*/ 10 w 16"/>
                <a:gd name="T37" fmla="*/ 32 h 36"/>
                <a:gd name="T38" fmla="*/ 16 w 16"/>
                <a:gd name="T39" fmla="*/ 24 h 36"/>
                <a:gd name="T40" fmla="*/ 10 w 16"/>
                <a:gd name="T41" fmla="*/ 16 h 36"/>
                <a:gd name="T42" fmla="*/ 10 w 16"/>
                <a:gd name="T43" fmla="*/ 8 h 36"/>
                <a:gd name="T44" fmla="*/ 12 w 16"/>
                <a:gd name="T45" fmla="*/ 12 h 36"/>
                <a:gd name="T46" fmla="*/ 4 w 16"/>
                <a:gd name="T47" fmla="*/ 12 h 36"/>
                <a:gd name="T48" fmla="*/ 6 w 16"/>
                <a:gd name="T49" fmla="*/ 8 h 36"/>
                <a:gd name="T50" fmla="*/ 6 w 16"/>
                <a:gd name="T51" fmla="*/ 15 h 36"/>
                <a:gd name="T52" fmla="*/ 4 w 16"/>
                <a:gd name="T53" fmla="*/ 12 h 36"/>
                <a:gd name="T54" fmla="*/ 12 w 16"/>
                <a:gd name="T55" fmla="*/ 24 h 36"/>
                <a:gd name="T56" fmla="*/ 10 w 16"/>
                <a:gd name="T57" fmla="*/ 27 h 36"/>
                <a:gd name="T58" fmla="*/ 10 w 16"/>
                <a:gd name="T59" fmla="*/ 20 h 36"/>
                <a:gd name="T60" fmla="*/ 12 w 16"/>
                <a:gd name="T61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" h="36">
                  <a:moveTo>
                    <a:pt x="12" y="12"/>
                  </a:moveTo>
                  <a:cubicBezTo>
                    <a:pt x="12" y="13"/>
                    <a:pt x="13" y="14"/>
                    <a:pt x="14" y="14"/>
                  </a:cubicBezTo>
                  <a:cubicBezTo>
                    <a:pt x="15" y="14"/>
                    <a:pt x="16" y="13"/>
                    <a:pt x="16" y="12"/>
                  </a:cubicBezTo>
                  <a:cubicBezTo>
                    <a:pt x="16" y="8"/>
                    <a:pt x="14" y="5"/>
                    <a:pt x="10" y="4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7" y="0"/>
                    <a:pt x="6" y="1"/>
                    <a:pt x="6" y="2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2" y="5"/>
                    <a:pt x="0" y="8"/>
                    <a:pt x="0" y="12"/>
                  </a:cubicBezTo>
                  <a:cubicBezTo>
                    <a:pt x="0" y="15"/>
                    <a:pt x="2" y="19"/>
                    <a:pt x="6" y="20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5" y="27"/>
                    <a:pt x="4" y="25"/>
                    <a:pt x="4" y="24"/>
                  </a:cubicBezTo>
                  <a:cubicBezTo>
                    <a:pt x="4" y="23"/>
                    <a:pt x="3" y="22"/>
                    <a:pt x="2" y="22"/>
                  </a:cubicBezTo>
                  <a:cubicBezTo>
                    <a:pt x="1" y="22"/>
                    <a:pt x="0" y="23"/>
                    <a:pt x="0" y="24"/>
                  </a:cubicBezTo>
                  <a:cubicBezTo>
                    <a:pt x="0" y="28"/>
                    <a:pt x="2" y="31"/>
                    <a:pt x="6" y="32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5"/>
                    <a:pt x="7" y="36"/>
                    <a:pt x="8" y="36"/>
                  </a:cubicBezTo>
                  <a:cubicBezTo>
                    <a:pt x="9" y="36"/>
                    <a:pt x="10" y="35"/>
                    <a:pt x="10" y="34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4" y="31"/>
                    <a:pt x="16" y="28"/>
                    <a:pt x="16" y="24"/>
                  </a:cubicBezTo>
                  <a:cubicBezTo>
                    <a:pt x="16" y="20"/>
                    <a:pt x="14" y="17"/>
                    <a:pt x="10" y="1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2" y="10"/>
                    <a:pt x="12" y="12"/>
                  </a:cubicBezTo>
                  <a:close/>
                  <a:moveTo>
                    <a:pt x="4" y="12"/>
                  </a:moveTo>
                  <a:cubicBezTo>
                    <a:pt x="4" y="10"/>
                    <a:pt x="5" y="9"/>
                    <a:pt x="6" y="8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5" y="15"/>
                    <a:pt x="4" y="13"/>
                    <a:pt x="4" y="12"/>
                  </a:cubicBezTo>
                  <a:close/>
                  <a:moveTo>
                    <a:pt x="12" y="24"/>
                  </a:moveTo>
                  <a:cubicBezTo>
                    <a:pt x="12" y="25"/>
                    <a:pt x="11" y="27"/>
                    <a:pt x="10" y="27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1" y="21"/>
                    <a:pt x="12" y="22"/>
                    <a:pt x="12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6C4A2E9-FA25-4A8A-9824-528CD512F49B}"/>
              </a:ext>
            </a:extLst>
          </p:cNvPr>
          <p:cNvGrpSpPr/>
          <p:nvPr/>
        </p:nvGrpSpPr>
        <p:grpSpPr>
          <a:xfrm>
            <a:off x="9661433" y="2849902"/>
            <a:ext cx="361950" cy="361950"/>
            <a:chOff x="3390900" y="2886076"/>
            <a:chExt cx="361950" cy="361950"/>
          </a:xfrm>
          <a:solidFill>
            <a:schemeClr val="bg1">
              <a:lumMod val="85000"/>
            </a:schemeClr>
          </a:solidFill>
        </p:grpSpPr>
        <p:sp>
          <p:nvSpPr>
            <p:cNvPr id="25" name="Freeform 147">
              <a:extLst>
                <a:ext uri="{FF2B5EF4-FFF2-40B4-BE49-F238E27FC236}">
                  <a16:creationId xmlns:a16="http://schemas.microsoft.com/office/drawing/2014/main" id="{DF9F3B23-1244-4DE1-AB6D-BCFEE4DF0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2038" y="3203576"/>
              <a:ext cx="104775" cy="44450"/>
            </a:xfrm>
            <a:custGeom>
              <a:avLst/>
              <a:gdLst>
                <a:gd name="T0" fmla="*/ 0 w 28"/>
                <a:gd name="T1" fmla="*/ 0 h 12"/>
                <a:gd name="T2" fmla="*/ 0 w 28"/>
                <a:gd name="T3" fmla="*/ 10 h 12"/>
                <a:gd name="T4" fmla="*/ 2 w 28"/>
                <a:gd name="T5" fmla="*/ 12 h 12"/>
                <a:gd name="T6" fmla="*/ 26 w 28"/>
                <a:gd name="T7" fmla="*/ 12 h 12"/>
                <a:gd name="T8" fmla="*/ 28 w 28"/>
                <a:gd name="T9" fmla="*/ 10 h 12"/>
                <a:gd name="T10" fmla="*/ 28 w 28"/>
                <a:gd name="T11" fmla="*/ 0 h 12"/>
                <a:gd name="T12" fmla="*/ 0 w 2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2">
                  <a:moveTo>
                    <a:pt x="0" y="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2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8" y="11"/>
                    <a:pt x="28" y="10"/>
                  </a:cubicBezTo>
                  <a:cubicBezTo>
                    <a:pt x="28" y="0"/>
                    <a:pt x="28" y="0"/>
                    <a:pt x="2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148">
              <a:extLst>
                <a:ext uri="{FF2B5EF4-FFF2-40B4-BE49-F238E27FC236}">
                  <a16:creationId xmlns:a16="http://schemas.microsoft.com/office/drawing/2014/main" id="{00B755A2-BB66-447F-8978-44574DA96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6325" y="2981326"/>
              <a:ext cx="136525" cy="206375"/>
            </a:xfrm>
            <a:custGeom>
              <a:avLst/>
              <a:gdLst>
                <a:gd name="T0" fmla="*/ 35 w 36"/>
                <a:gd name="T1" fmla="*/ 1 h 55"/>
                <a:gd name="T2" fmla="*/ 29 w 36"/>
                <a:gd name="T3" fmla="*/ 2 h 55"/>
                <a:gd name="T4" fmla="*/ 22 w 36"/>
                <a:gd name="T5" fmla="*/ 26 h 55"/>
                <a:gd name="T6" fmla="*/ 16 w 36"/>
                <a:gd name="T7" fmla="*/ 33 h 55"/>
                <a:gd name="T8" fmla="*/ 17 w 36"/>
                <a:gd name="T9" fmla="*/ 27 h 55"/>
                <a:gd name="T10" fmla="*/ 14 w 36"/>
                <a:gd name="T11" fmla="*/ 19 h 55"/>
                <a:gd name="T12" fmla="*/ 6 w 36"/>
                <a:gd name="T13" fmla="*/ 22 h 55"/>
                <a:gd name="T14" fmla="*/ 0 w 36"/>
                <a:gd name="T15" fmla="*/ 38 h 55"/>
                <a:gd name="T16" fmla="*/ 0 w 36"/>
                <a:gd name="T17" fmla="*/ 39 h 55"/>
                <a:gd name="T18" fmla="*/ 0 w 36"/>
                <a:gd name="T19" fmla="*/ 55 h 55"/>
                <a:gd name="T20" fmla="*/ 20 w 36"/>
                <a:gd name="T21" fmla="*/ 55 h 55"/>
                <a:gd name="T22" fmla="*/ 20 w 36"/>
                <a:gd name="T23" fmla="*/ 52 h 55"/>
                <a:gd name="T24" fmla="*/ 35 w 36"/>
                <a:gd name="T25" fmla="*/ 36 h 55"/>
                <a:gd name="T26" fmla="*/ 36 w 36"/>
                <a:gd name="T27" fmla="*/ 35 h 55"/>
                <a:gd name="T28" fmla="*/ 36 w 36"/>
                <a:gd name="T29" fmla="*/ 3 h 55"/>
                <a:gd name="T30" fmla="*/ 35 w 36"/>
                <a:gd name="T31" fmla="*/ 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55">
                  <a:moveTo>
                    <a:pt x="35" y="1"/>
                  </a:moveTo>
                  <a:cubicBezTo>
                    <a:pt x="34" y="1"/>
                    <a:pt x="32" y="0"/>
                    <a:pt x="29" y="2"/>
                  </a:cubicBezTo>
                  <a:cubicBezTo>
                    <a:pt x="24" y="5"/>
                    <a:pt x="22" y="13"/>
                    <a:pt x="22" y="2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3"/>
                    <a:pt x="16" y="20"/>
                    <a:pt x="14" y="19"/>
                  </a:cubicBezTo>
                  <a:cubicBezTo>
                    <a:pt x="12" y="18"/>
                    <a:pt x="8" y="19"/>
                    <a:pt x="6" y="22"/>
                  </a:cubicBezTo>
                  <a:cubicBezTo>
                    <a:pt x="4" y="26"/>
                    <a:pt x="0" y="38"/>
                    <a:pt x="0" y="3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3" y="49"/>
                    <a:pt x="33" y="39"/>
                    <a:pt x="35" y="36"/>
                  </a:cubicBezTo>
                  <a:cubicBezTo>
                    <a:pt x="36" y="36"/>
                    <a:pt x="36" y="36"/>
                    <a:pt x="36" y="35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2"/>
                    <a:pt x="35" y="1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149">
              <a:extLst>
                <a:ext uri="{FF2B5EF4-FFF2-40B4-BE49-F238E27FC236}">
                  <a16:creationId xmlns:a16="http://schemas.microsoft.com/office/drawing/2014/main" id="{90CA8FAE-9322-4430-B2C7-EAC915B05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2981326"/>
              <a:ext cx="136525" cy="206375"/>
            </a:xfrm>
            <a:custGeom>
              <a:avLst/>
              <a:gdLst>
                <a:gd name="T0" fmla="*/ 16 w 36"/>
                <a:gd name="T1" fmla="*/ 55 h 55"/>
                <a:gd name="T2" fmla="*/ 36 w 36"/>
                <a:gd name="T3" fmla="*/ 55 h 55"/>
                <a:gd name="T4" fmla="*/ 36 w 36"/>
                <a:gd name="T5" fmla="*/ 39 h 55"/>
                <a:gd name="T6" fmla="*/ 36 w 36"/>
                <a:gd name="T7" fmla="*/ 38 h 55"/>
                <a:gd name="T8" fmla="*/ 30 w 36"/>
                <a:gd name="T9" fmla="*/ 22 h 55"/>
                <a:gd name="T10" fmla="*/ 22 w 36"/>
                <a:gd name="T11" fmla="*/ 19 h 55"/>
                <a:gd name="T12" fmla="*/ 19 w 36"/>
                <a:gd name="T13" fmla="*/ 27 h 55"/>
                <a:gd name="T14" fmla="*/ 20 w 36"/>
                <a:gd name="T15" fmla="*/ 33 h 55"/>
                <a:gd name="T16" fmla="*/ 14 w 36"/>
                <a:gd name="T17" fmla="*/ 26 h 55"/>
                <a:gd name="T18" fmla="*/ 7 w 36"/>
                <a:gd name="T19" fmla="*/ 2 h 55"/>
                <a:gd name="T20" fmla="*/ 1 w 36"/>
                <a:gd name="T21" fmla="*/ 1 h 55"/>
                <a:gd name="T22" fmla="*/ 0 w 36"/>
                <a:gd name="T23" fmla="*/ 3 h 55"/>
                <a:gd name="T24" fmla="*/ 0 w 36"/>
                <a:gd name="T25" fmla="*/ 35 h 55"/>
                <a:gd name="T26" fmla="*/ 1 w 36"/>
                <a:gd name="T27" fmla="*/ 37 h 55"/>
                <a:gd name="T28" fmla="*/ 16 w 36"/>
                <a:gd name="T29" fmla="*/ 52 h 55"/>
                <a:gd name="T30" fmla="*/ 16 w 36"/>
                <a:gd name="T31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55">
                  <a:moveTo>
                    <a:pt x="16" y="55"/>
                  </a:moveTo>
                  <a:cubicBezTo>
                    <a:pt x="36" y="55"/>
                    <a:pt x="36" y="55"/>
                    <a:pt x="36" y="55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8"/>
                  </a:cubicBezTo>
                  <a:cubicBezTo>
                    <a:pt x="36" y="38"/>
                    <a:pt x="32" y="26"/>
                    <a:pt x="30" y="22"/>
                  </a:cubicBezTo>
                  <a:cubicBezTo>
                    <a:pt x="27" y="19"/>
                    <a:pt x="24" y="18"/>
                    <a:pt x="22" y="19"/>
                  </a:cubicBezTo>
                  <a:cubicBezTo>
                    <a:pt x="20" y="20"/>
                    <a:pt x="18" y="23"/>
                    <a:pt x="19" y="27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13"/>
                    <a:pt x="12" y="5"/>
                    <a:pt x="7" y="2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1" y="37"/>
                  </a:cubicBezTo>
                  <a:cubicBezTo>
                    <a:pt x="4" y="39"/>
                    <a:pt x="14" y="49"/>
                    <a:pt x="16" y="52"/>
                  </a:cubicBezTo>
                  <a:lnTo>
                    <a:pt x="16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150">
              <a:extLst>
                <a:ext uri="{FF2B5EF4-FFF2-40B4-BE49-F238E27FC236}">
                  <a16:creationId xmlns:a16="http://schemas.microsoft.com/office/drawing/2014/main" id="{AA6A9723-FE04-4695-960D-77580317C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6938" y="3203576"/>
              <a:ext cx="104775" cy="44450"/>
            </a:xfrm>
            <a:custGeom>
              <a:avLst/>
              <a:gdLst>
                <a:gd name="T0" fmla="*/ 0 w 28"/>
                <a:gd name="T1" fmla="*/ 0 h 12"/>
                <a:gd name="T2" fmla="*/ 0 w 28"/>
                <a:gd name="T3" fmla="*/ 10 h 12"/>
                <a:gd name="T4" fmla="*/ 2 w 28"/>
                <a:gd name="T5" fmla="*/ 12 h 12"/>
                <a:gd name="T6" fmla="*/ 26 w 28"/>
                <a:gd name="T7" fmla="*/ 12 h 12"/>
                <a:gd name="T8" fmla="*/ 28 w 28"/>
                <a:gd name="T9" fmla="*/ 10 h 12"/>
                <a:gd name="T10" fmla="*/ 28 w 28"/>
                <a:gd name="T11" fmla="*/ 0 h 12"/>
                <a:gd name="T12" fmla="*/ 0 w 2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2">
                  <a:moveTo>
                    <a:pt x="0" y="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2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8" y="11"/>
                    <a:pt x="28" y="10"/>
                  </a:cubicBezTo>
                  <a:cubicBezTo>
                    <a:pt x="28" y="0"/>
                    <a:pt x="28" y="0"/>
                    <a:pt x="2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151">
              <a:extLst>
                <a:ext uri="{FF2B5EF4-FFF2-40B4-BE49-F238E27FC236}">
                  <a16:creationId xmlns:a16="http://schemas.microsoft.com/office/drawing/2014/main" id="{682FD861-9B68-4C35-939F-AA49BE672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388" y="2943226"/>
              <a:ext cx="82550" cy="134938"/>
            </a:xfrm>
            <a:custGeom>
              <a:avLst/>
              <a:gdLst>
                <a:gd name="T0" fmla="*/ 22 w 22"/>
                <a:gd name="T1" fmla="*/ 12 h 36"/>
                <a:gd name="T2" fmla="*/ 0 w 22"/>
                <a:gd name="T3" fmla="*/ 0 h 36"/>
                <a:gd name="T4" fmla="*/ 0 w 22"/>
                <a:gd name="T5" fmla="*/ 23 h 36"/>
                <a:gd name="T6" fmla="*/ 1 w 22"/>
                <a:gd name="T7" fmla="*/ 25 h 36"/>
                <a:gd name="T8" fmla="*/ 22 w 22"/>
                <a:gd name="T9" fmla="*/ 36 h 36"/>
                <a:gd name="T10" fmla="*/ 22 w 22"/>
                <a:gd name="T11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36">
                  <a:moveTo>
                    <a:pt x="22" y="1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1" y="25"/>
                  </a:cubicBezTo>
                  <a:cubicBezTo>
                    <a:pt x="22" y="36"/>
                    <a:pt x="22" y="36"/>
                    <a:pt x="22" y="36"/>
                  </a:cubicBezTo>
                  <a:lnTo>
                    <a:pt x="2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152">
              <a:extLst>
                <a:ext uri="{FF2B5EF4-FFF2-40B4-BE49-F238E27FC236}">
                  <a16:creationId xmlns:a16="http://schemas.microsoft.com/office/drawing/2014/main" id="{087966E8-2759-4E5B-B7D0-C18C2F951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9325" y="2886076"/>
              <a:ext cx="165100" cy="90488"/>
            </a:xfrm>
            <a:custGeom>
              <a:avLst/>
              <a:gdLst>
                <a:gd name="T0" fmla="*/ 22 w 44"/>
                <a:gd name="T1" fmla="*/ 24 h 24"/>
                <a:gd name="T2" fmla="*/ 44 w 44"/>
                <a:gd name="T3" fmla="*/ 12 h 24"/>
                <a:gd name="T4" fmla="*/ 23 w 44"/>
                <a:gd name="T5" fmla="*/ 0 h 24"/>
                <a:gd name="T6" fmla="*/ 21 w 44"/>
                <a:gd name="T7" fmla="*/ 0 h 24"/>
                <a:gd name="T8" fmla="*/ 0 w 44"/>
                <a:gd name="T9" fmla="*/ 12 h 24"/>
                <a:gd name="T10" fmla="*/ 22 w 44"/>
                <a:gd name="T1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24">
                  <a:moveTo>
                    <a:pt x="22" y="24"/>
                  </a:moveTo>
                  <a:cubicBezTo>
                    <a:pt x="44" y="12"/>
                    <a:pt x="44" y="12"/>
                    <a:pt x="44" y="12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0"/>
                    <a:pt x="22" y="0"/>
                    <a:pt x="21" y="0"/>
                  </a:cubicBezTo>
                  <a:cubicBezTo>
                    <a:pt x="0" y="12"/>
                    <a:pt x="0" y="12"/>
                    <a:pt x="0" y="12"/>
                  </a:cubicBezTo>
                  <a:lnTo>
                    <a:pt x="2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153">
              <a:extLst>
                <a:ext uri="{FF2B5EF4-FFF2-40B4-BE49-F238E27FC236}">
                  <a16:creationId xmlns:a16="http://schemas.microsoft.com/office/drawing/2014/main" id="{8E4FD2FB-9BC6-406F-8C8A-857EFF1C9C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813" y="2943226"/>
              <a:ext cx="82550" cy="134938"/>
            </a:xfrm>
            <a:custGeom>
              <a:avLst/>
              <a:gdLst>
                <a:gd name="T0" fmla="*/ 0 w 22"/>
                <a:gd name="T1" fmla="*/ 12 h 36"/>
                <a:gd name="T2" fmla="*/ 0 w 22"/>
                <a:gd name="T3" fmla="*/ 36 h 36"/>
                <a:gd name="T4" fmla="*/ 21 w 22"/>
                <a:gd name="T5" fmla="*/ 25 h 36"/>
                <a:gd name="T6" fmla="*/ 22 w 22"/>
                <a:gd name="T7" fmla="*/ 23 h 36"/>
                <a:gd name="T8" fmla="*/ 22 w 22"/>
                <a:gd name="T9" fmla="*/ 0 h 36"/>
                <a:gd name="T10" fmla="*/ 0 w 22"/>
                <a:gd name="T11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36">
                  <a:moveTo>
                    <a:pt x="0" y="12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2" y="24"/>
                    <a:pt x="22" y="24"/>
                    <a:pt x="22" y="23"/>
                  </a:cubicBezTo>
                  <a:cubicBezTo>
                    <a:pt x="22" y="0"/>
                    <a:pt x="22" y="0"/>
                    <a:pt x="22" y="0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3DAF18A7-1CF7-415C-B48D-4B4FBA01A1B0}"/>
              </a:ext>
            </a:extLst>
          </p:cNvPr>
          <p:cNvSpPr/>
          <p:nvPr/>
        </p:nvSpPr>
        <p:spPr>
          <a:xfrm>
            <a:off x="812970" y="4292560"/>
            <a:ext cx="3089490" cy="185130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>
              <a:spcBef>
                <a:spcPts val="600"/>
              </a:spcBef>
              <a:buClr>
                <a:schemeClr val="accent6"/>
              </a:buClr>
            </a:pP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nim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ad minim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veniam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quis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nostrud</a:t>
            </a:r>
            <a:endParaRPr lang="en-US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AD0C071-18CE-43BD-A354-6A9466CB8BBE}"/>
              </a:ext>
            </a:extLst>
          </p:cNvPr>
          <p:cNvSpPr/>
          <p:nvPr/>
        </p:nvSpPr>
        <p:spPr>
          <a:xfrm>
            <a:off x="4526343" y="4292560"/>
            <a:ext cx="3089490" cy="185130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>
              <a:spcBef>
                <a:spcPts val="600"/>
              </a:spcBef>
              <a:buClr>
                <a:schemeClr val="accent6"/>
              </a:buClr>
            </a:pP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nim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ad minim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veniam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quis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nostrud</a:t>
            </a:r>
            <a:endParaRPr lang="en-US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2A644B9-3655-47D6-A7B8-649C1435DE30}"/>
              </a:ext>
            </a:extLst>
          </p:cNvPr>
          <p:cNvSpPr/>
          <p:nvPr/>
        </p:nvSpPr>
        <p:spPr>
          <a:xfrm>
            <a:off x="8289537" y="4292560"/>
            <a:ext cx="3089490" cy="185130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>
              <a:spcBef>
                <a:spcPts val="600"/>
              </a:spcBef>
              <a:buClr>
                <a:schemeClr val="accent6"/>
              </a:buClr>
            </a:pP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nim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ad minim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veniam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quis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nostrud</a:t>
            </a:r>
            <a:endParaRPr lang="en-US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02DAA66-083F-4AF6-B819-B1D58FD13D96}"/>
              </a:ext>
            </a:extLst>
          </p:cNvPr>
          <p:cNvSpPr/>
          <p:nvPr/>
        </p:nvSpPr>
        <p:spPr>
          <a:xfrm>
            <a:off x="812970" y="1384014"/>
            <a:ext cx="3089490" cy="5374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anchor="ctr" anchorCtr="0">
            <a:noAutofit/>
          </a:bodyPr>
          <a:lstStyle/>
          <a:p>
            <a:pPr algn="ctr">
              <a:buClr>
                <a:schemeClr val="accent6"/>
              </a:buClr>
            </a:pPr>
            <a:r>
              <a:rPr lang="en-US" sz="2400" b="1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AA5424F-5A2C-442E-9631-2A34D3990181}"/>
              </a:ext>
            </a:extLst>
          </p:cNvPr>
          <p:cNvSpPr/>
          <p:nvPr/>
        </p:nvSpPr>
        <p:spPr>
          <a:xfrm>
            <a:off x="4526343" y="1384014"/>
            <a:ext cx="3089490" cy="5374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anchor="ctr" anchorCtr="0">
            <a:noAutofit/>
          </a:bodyPr>
          <a:lstStyle/>
          <a:p>
            <a:pPr algn="ctr">
              <a:buClr>
                <a:schemeClr val="accent6"/>
              </a:buClr>
            </a:pPr>
            <a:r>
              <a:rPr lang="en-US" sz="2400" b="1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7294112-3C9F-486D-811D-5DCE1F682323}"/>
              </a:ext>
            </a:extLst>
          </p:cNvPr>
          <p:cNvSpPr/>
          <p:nvPr/>
        </p:nvSpPr>
        <p:spPr>
          <a:xfrm>
            <a:off x="8289537" y="1384014"/>
            <a:ext cx="3089490" cy="5374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anchor="ctr" anchorCtr="0">
            <a:noAutofit/>
          </a:bodyPr>
          <a:lstStyle/>
          <a:p>
            <a:pPr algn="ctr">
              <a:buClr>
                <a:schemeClr val="accent6"/>
              </a:buClr>
            </a:pPr>
            <a:r>
              <a:rPr lang="en-US" sz="2400" b="1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0148507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8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vayN2jkC6zTO5aHBgD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9Jz.Wv7pNfz7siBfw7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TsGiBmLo4R9DUeVnww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6</TotalTime>
  <Words>1021</Words>
  <Application>Microsoft Office PowerPoint</Application>
  <PresentationFormat>Widescreen</PresentationFormat>
  <Paragraphs>119</Paragraphs>
  <Slides>15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libri</vt:lpstr>
      <vt:lpstr>Calibri Light</vt:lpstr>
      <vt:lpstr>Segoe UI</vt:lpstr>
      <vt:lpstr>Segoe UI Light</vt:lpstr>
      <vt:lpstr>Office Theme</vt:lpstr>
      <vt:lpstr>Tema de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mmary</vt:lpstr>
      <vt:lpstr>Summary</vt:lpstr>
      <vt:lpstr>Summary</vt:lpstr>
      <vt:lpstr>Summary</vt:lpstr>
      <vt:lpstr>Summary</vt:lpstr>
      <vt:lpstr>Summary</vt:lpstr>
      <vt:lpstr>Summary</vt:lpstr>
      <vt:lpstr>Summary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user</cp:lastModifiedBy>
  <cp:revision>35</cp:revision>
  <dcterms:created xsi:type="dcterms:W3CDTF">2020-09-10T06:27:26Z</dcterms:created>
  <dcterms:modified xsi:type="dcterms:W3CDTF">2020-09-22T18:28:31Z</dcterms:modified>
</cp:coreProperties>
</file>